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  <p:sldMasterId id="2147483684" r:id="rId2"/>
    <p:sldMasterId id="2147483749" r:id="rId3"/>
  </p:sldMasterIdLst>
  <p:notesMasterIdLst>
    <p:notesMasterId r:id="rId11"/>
  </p:notesMasterIdLst>
  <p:sldIdLst>
    <p:sldId id="366" r:id="rId4"/>
    <p:sldId id="371" r:id="rId5"/>
    <p:sldId id="380" r:id="rId6"/>
    <p:sldId id="375" r:id="rId7"/>
    <p:sldId id="376" r:id="rId8"/>
    <p:sldId id="377" r:id="rId9"/>
    <p:sldId id="378" r:id="rId10"/>
  </p:sldIdLst>
  <p:sldSz cx="12192000" cy="6858000"/>
  <p:notesSz cx="6858000" cy="9144000"/>
  <p:custDataLst>
    <p:tags r:id="rId12"/>
  </p:custDataLst>
  <p:defaultTextStyle>
    <a:defPPr>
      <a:defRPr lang="ru-RU"/>
    </a:defPPr>
    <a:lvl1pPr marL="0" algn="l" defTabSz="2057010" rtl="0" eaLnBrk="1" latinLnBrk="0" hangingPunct="1">
      <a:defRPr sz="4048" kern="1200">
        <a:solidFill>
          <a:schemeClr val="tx1"/>
        </a:solidFill>
        <a:latin typeface="+mn-lt"/>
        <a:ea typeface="+mn-ea"/>
        <a:cs typeface="+mn-cs"/>
      </a:defRPr>
    </a:lvl1pPr>
    <a:lvl2pPr marL="1028506" algn="l" defTabSz="2057010" rtl="0" eaLnBrk="1" latinLnBrk="0" hangingPunct="1">
      <a:defRPr sz="4048" kern="1200">
        <a:solidFill>
          <a:schemeClr val="tx1"/>
        </a:solidFill>
        <a:latin typeface="+mn-lt"/>
        <a:ea typeface="+mn-ea"/>
        <a:cs typeface="+mn-cs"/>
      </a:defRPr>
    </a:lvl2pPr>
    <a:lvl3pPr marL="2057010" algn="l" defTabSz="2057010" rtl="0" eaLnBrk="1" latinLnBrk="0" hangingPunct="1">
      <a:defRPr sz="4048" kern="1200">
        <a:solidFill>
          <a:schemeClr val="tx1"/>
        </a:solidFill>
        <a:latin typeface="+mn-lt"/>
        <a:ea typeface="+mn-ea"/>
        <a:cs typeface="+mn-cs"/>
      </a:defRPr>
    </a:lvl3pPr>
    <a:lvl4pPr marL="3085516" algn="l" defTabSz="2057010" rtl="0" eaLnBrk="1" latinLnBrk="0" hangingPunct="1">
      <a:defRPr sz="4048" kern="1200">
        <a:solidFill>
          <a:schemeClr val="tx1"/>
        </a:solidFill>
        <a:latin typeface="+mn-lt"/>
        <a:ea typeface="+mn-ea"/>
        <a:cs typeface="+mn-cs"/>
      </a:defRPr>
    </a:lvl4pPr>
    <a:lvl5pPr marL="4114019" algn="l" defTabSz="2057010" rtl="0" eaLnBrk="1" latinLnBrk="0" hangingPunct="1">
      <a:defRPr sz="4048" kern="1200">
        <a:solidFill>
          <a:schemeClr val="tx1"/>
        </a:solidFill>
        <a:latin typeface="+mn-lt"/>
        <a:ea typeface="+mn-ea"/>
        <a:cs typeface="+mn-cs"/>
      </a:defRPr>
    </a:lvl5pPr>
    <a:lvl6pPr marL="5142526" algn="l" defTabSz="2057010" rtl="0" eaLnBrk="1" latinLnBrk="0" hangingPunct="1">
      <a:defRPr sz="4048" kern="1200">
        <a:solidFill>
          <a:schemeClr val="tx1"/>
        </a:solidFill>
        <a:latin typeface="+mn-lt"/>
        <a:ea typeface="+mn-ea"/>
        <a:cs typeface="+mn-cs"/>
      </a:defRPr>
    </a:lvl6pPr>
    <a:lvl7pPr marL="6171032" algn="l" defTabSz="2057010" rtl="0" eaLnBrk="1" latinLnBrk="0" hangingPunct="1">
      <a:defRPr sz="4048" kern="1200">
        <a:solidFill>
          <a:schemeClr val="tx1"/>
        </a:solidFill>
        <a:latin typeface="+mn-lt"/>
        <a:ea typeface="+mn-ea"/>
        <a:cs typeface="+mn-cs"/>
      </a:defRPr>
    </a:lvl7pPr>
    <a:lvl8pPr marL="7199538" algn="l" defTabSz="2057010" rtl="0" eaLnBrk="1" latinLnBrk="0" hangingPunct="1">
      <a:defRPr sz="4048" kern="1200">
        <a:solidFill>
          <a:schemeClr val="tx1"/>
        </a:solidFill>
        <a:latin typeface="+mn-lt"/>
        <a:ea typeface="+mn-ea"/>
        <a:cs typeface="+mn-cs"/>
      </a:defRPr>
    </a:lvl8pPr>
    <a:lvl9pPr marL="8228042" algn="l" defTabSz="2057010" rtl="0" eaLnBrk="1" latinLnBrk="0" hangingPunct="1">
      <a:defRPr sz="404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7" userDrawn="1">
          <p15:clr>
            <a:srgbClr val="A4A3A4"/>
          </p15:clr>
        </p15:guide>
        <p15:guide id="2" pos="551" userDrawn="1">
          <p15:clr>
            <a:srgbClr val="A4A3A4"/>
          </p15:clr>
        </p15:guide>
        <p15:guide id="3" pos="1073" userDrawn="1">
          <p15:clr>
            <a:srgbClr val="A4A3A4"/>
          </p15:clr>
        </p15:guide>
        <p15:guide id="4" orient="horz" pos="1684" userDrawn="1">
          <p15:clr>
            <a:srgbClr val="A4A3A4"/>
          </p15:clr>
        </p15:guide>
        <p15:guide id="5" orient="horz" pos="383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1A1A"/>
    <a:srgbClr val="7B90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122" autoAdjust="0"/>
    <p:restoredTop sz="96405"/>
  </p:normalViewPr>
  <p:slideViewPr>
    <p:cSldViewPr snapToGrid="0" snapToObjects="1" showGuides="1">
      <p:cViewPr varScale="1">
        <p:scale>
          <a:sx n="111" d="100"/>
          <a:sy n="111" d="100"/>
        </p:scale>
        <p:origin x="354" y="96"/>
      </p:cViewPr>
      <p:guideLst>
        <p:guide orient="horz" pos="527"/>
        <p:guide pos="551"/>
        <p:guide pos="1073"/>
        <p:guide orient="horz" pos="1684"/>
        <p:guide orient="horz" pos="383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88891E-F592-194F-B25C-DBC5F6FFF223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631798-0047-9F47-B03A-38040E191B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31919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F6A9CE-5897-41CA-AA59-6FDF467B4146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32807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aphic 8">
            <a:extLst>
              <a:ext uri="{FF2B5EF4-FFF2-40B4-BE49-F238E27FC236}">
                <a16:creationId xmlns:a16="http://schemas.microsoft.com/office/drawing/2014/main" id="{586AFBB0-80CA-E4A5-6365-664DFD938DB2}"/>
              </a:ext>
            </a:extLst>
          </p:cNvPr>
          <p:cNvGrpSpPr/>
          <p:nvPr/>
        </p:nvGrpSpPr>
        <p:grpSpPr>
          <a:xfrm>
            <a:off x="190406" y="165028"/>
            <a:ext cx="11812713" cy="6492719"/>
            <a:chOff x="404812" y="350838"/>
            <a:chExt cx="25114320" cy="13803040"/>
          </a:xfrm>
          <a:solidFill>
            <a:srgbClr val="FFFFFF"/>
          </a:solidFill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F4C7A946-0448-5A3E-E2E5-3BAFF60C3527}"/>
                </a:ext>
              </a:extLst>
            </p:cNvPr>
            <p:cNvSpPr/>
            <p:nvPr/>
          </p:nvSpPr>
          <p:spPr>
            <a:xfrm>
              <a:off x="24353773" y="350838"/>
              <a:ext cx="1138855" cy="1028255"/>
            </a:xfrm>
            <a:custGeom>
              <a:avLst/>
              <a:gdLst>
                <a:gd name="connsiteX0" fmla="*/ 0 w 1138855"/>
                <a:gd name="connsiteY0" fmla="*/ 0 h 1028255"/>
                <a:gd name="connsiteX1" fmla="*/ 0 w 1138855"/>
                <a:gd name="connsiteY1" fmla="*/ 206598 h 1028255"/>
                <a:gd name="connsiteX2" fmla="*/ 444885 w 1138855"/>
                <a:gd name="connsiteY2" fmla="*/ 206598 h 1028255"/>
                <a:gd name="connsiteX3" fmla="*/ 444885 w 1138855"/>
                <a:gd name="connsiteY3" fmla="*/ 1028255 h 1028255"/>
                <a:gd name="connsiteX4" fmla="*/ 693968 w 1138855"/>
                <a:gd name="connsiteY4" fmla="*/ 1028255 h 1028255"/>
                <a:gd name="connsiteX5" fmla="*/ 693968 w 1138855"/>
                <a:gd name="connsiteY5" fmla="*/ 206598 h 1028255"/>
                <a:gd name="connsiteX6" fmla="*/ 1138855 w 1138855"/>
                <a:gd name="connsiteY6" fmla="*/ 206598 h 1028255"/>
                <a:gd name="connsiteX7" fmla="*/ 1138855 w 1138855"/>
                <a:gd name="connsiteY7" fmla="*/ 0 h 1028255"/>
                <a:gd name="connsiteX8" fmla="*/ 0 w 1138855"/>
                <a:gd name="connsiteY8" fmla="*/ 0 h 1028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8855" h="1028255">
                  <a:moveTo>
                    <a:pt x="0" y="0"/>
                  </a:moveTo>
                  <a:lnTo>
                    <a:pt x="0" y="206598"/>
                  </a:lnTo>
                  <a:lnTo>
                    <a:pt x="444885" y="206598"/>
                  </a:lnTo>
                  <a:lnTo>
                    <a:pt x="444885" y="1028255"/>
                  </a:lnTo>
                  <a:lnTo>
                    <a:pt x="693968" y="1028255"/>
                  </a:lnTo>
                  <a:lnTo>
                    <a:pt x="693968" y="206598"/>
                  </a:lnTo>
                  <a:lnTo>
                    <a:pt x="1138855" y="206598"/>
                  </a:lnTo>
                  <a:lnTo>
                    <a:pt x="11388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116956F-79D2-F6A5-6597-A0F31242914A}"/>
                </a:ext>
              </a:extLst>
            </p:cNvPr>
            <p:cNvSpPr/>
            <p:nvPr/>
          </p:nvSpPr>
          <p:spPr>
            <a:xfrm>
              <a:off x="404812" y="354491"/>
              <a:ext cx="1369682" cy="1028254"/>
            </a:xfrm>
            <a:custGeom>
              <a:avLst/>
              <a:gdLst>
                <a:gd name="connsiteX0" fmla="*/ 1012151 w 1369682"/>
                <a:gd name="connsiteY0" fmla="*/ 0 h 1028254"/>
                <a:gd name="connsiteX1" fmla="*/ 684774 w 1369682"/>
                <a:gd name="connsiteY1" fmla="*/ 680137 h 1028254"/>
                <a:gd name="connsiteX2" fmla="*/ 357397 w 1369682"/>
                <a:gd name="connsiteY2" fmla="*/ 0 h 1028254"/>
                <a:gd name="connsiteX3" fmla="*/ 0 w 1369682"/>
                <a:gd name="connsiteY3" fmla="*/ 0 h 1028254"/>
                <a:gd name="connsiteX4" fmla="*/ 0 w 1369682"/>
                <a:gd name="connsiteY4" fmla="*/ 1028255 h 1028254"/>
                <a:gd name="connsiteX5" fmla="*/ 250570 w 1369682"/>
                <a:gd name="connsiteY5" fmla="*/ 1028255 h 1028254"/>
                <a:gd name="connsiteX6" fmla="*/ 250570 w 1369682"/>
                <a:gd name="connsiteY6" fmla="*/ 292376 h 1028254"/>
                <a:gd name="connsiteX7" fmla="*/ 570510 w 1369682"/>
                <a:gd name="connsiteY7" fmla="*/ 914065 h 1028254"/>
                <a:gd name="connsiteX8" fmla="*/ 799038 w 1369682"/>
                <a:gd name="connsiteY8" fmla="*/ 914065 h 1028254"/>
                <a:gd name="connsiteX9" fmla="*/ 1119113 w 1369682"/>
                <a:gd name="connsiteY9" fmla="*/ 292376 h 1028254"/>
                <a:gd name="connsiteX10" fmla="*/ 1119113 w 1369682"/>
                <a:gd name="connsiteY10" fmla="*/ 1028255 h 1028254"/>
                <a:gd name="connsiteX11" fmla="*/ 1369683 w 1369682"/>
                <a:gd name="connsiteY11" fmla="*/ 1028255 h 1028254"/>
                <a:gd name="connsiteX12" fmla="*/ 1369683 w 1369682"/>
                <a:gd name="connsiteY12" fmla="*/ 0 h 1028254"/>
                <a:gd name="connsiteX13" fmla="*/ 1012151 w 1369682"/>
                <a:gd name="connsiteY13" fmla="*/ 0 h 1028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69682" h="1028254">
                  <a:moveTo>
                    <a:pt x="1012151" y="0"/>
                  </a:moveTo>
                  <a:lnTo>
                    <a:pt x="684774" y="680137"/>
                  </a:lnTo>
                  <a:lnTo>
                    <a:pt x="357397" y="0"/>
                  </a:lnTo>
                  <a:lnTo>
                    <a:pt x="0" y="0"/>
                  </a:lnTo>
                  <a:lnTo>
                    <a:pt x="0" y="1028255"/>
                  </a:lnTo>
                  <a:lnTo>
                    <a:pt x="250570" y="1028255"/>
                  </a:lnTo>
                  <a:lnTo>
                    <a:pt x="250570" y="292376"/>
                  </a:lnTo>
                  <a:lnTo>
                    <a:pt x="570510" y="914065"/>
                  </a:lnTo>
                  <a:lnTo>
                    <a:pt x="799038" y="914065"/>
                  </a:lnTo>
                  <a:lnTo>
                    <a:pt x="1119113" y="292376"/>
                  </a:lnTo>
                  <a:lnTo>
                    <a:pt x="1119113" y="1028255"/>
                  </a:lnTo>
                  <a:lnTo>
                    <a:pt x="1369683" y="1028255"/>
                  </a:lnTo>
                  <a:lnTo>
                    <a:pt x="1369683" y="0"/>
                  </a:lnTo>
                  <a:lnTo>
                    <a:pt x="1012151" y="0"/>
                  </a:lnTo>
                </a:path>
              </a:pathLst>
            </a:custGeom>
            <a:solidFill>
              <a:srgbClr val="FFFFFF"/>
            </a:solidFill>
            <a:ln w="13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31D55FB4-8EF6-2E16-D563-5FAC4F33306C}"/>
                </a:ext>
              </a:extLst>
            </p:cNvPr>
            <p:cNvSpPr/>
            <p:nvPr/>
          </p:nvSpPr>
          <p:spPr>
            <a:xfrm>
              <a:off x="24421385" y="13125619"/>
              <a:ext cx="1097746" cy="1028259"/>
            </a:xfrm>
            <a:custGeom>
              <a:avLst/>
              <a:gdLst>
                <a:gd name="connsiteX0" fmla="*/ 857589 w 1097746"/>
                <a:gd name="connsiteY0" fmla="*/ 678989 h 1028259"/>
                <a:gd name="connsiteX1" fmla="*/ 810396 w 1097746"/>
                <a:gd name="connsiteY1" fmla="*/ 775050 h 1028259"/>
                <a:gd name="connsiteX2" fmla="*/ 714387 w 1097746"/>
                <a:gd name="connsiteY2" fmla="*/ 823621 h 1028259"/>
                <a:gd name="connsiteX3" fmla="*/ 555364 w 1097746"/>
                <a:gd name="connsiteY3" fmla="*/ 837963 h 1028259"/>
                <a:gd name="connsiteX4" fmla="*/ 387686 w 1097746"/>
                <a:gd name="connsiteY4" fmla="*/ 813474 h 1028259"/>
                <a:gd name="connsiteX5" fmla="*/ 278965 w 1097746"/>
                <a:gd name="connsiteY5" fmla="*/ 731349 h 1028259"/>
                <a:gd name="connsiteX6" fmla="*/ 239887 w 1097746"/>
                <a:gd name="connsiteY6" fmla="*/ 565340 h 1028259"/>
                <a:gd name="connsiteX7" fmla="*/ 239887 w 1097746"/>
                <a:gd name="connsiteY7" fmla="*/ 464273 h 1028259"/>
                <a:gd name="connsiteX8" fmla="*/ 278965 w 1097746"/>
                <a:gd name="connsiteY8" fmla="*/ 297723 h 1028259"/>
                <a:gd name="connsiteX9" fmla="*/ 387415 w 1097746"/>
                <a:gd name="connsiteY9" fmla="*/ 215733 h 1028259"/>
                <a:gd name="connsiteX10" fmla="*/ 555093 w 1097746"/>
                <a:gd name="connsiteY10" fmla="*/ 191109 h 1028259"/>
                <a:gd name="connsiteX11" fmla="*/ 714116 w 1097746"/>
                <a:gd name="connsiteY11" fmla="*/ 205586 h 1028259"/>
                <a:gd name="connsiteX12" fmla="*/ 810260 w 1097746"/>
                <a:gd name="connsiteY12" fmla="*/ 254022 h 1028259"/>
                <a:gd name="connsiteX13" fmla="*/ 857318 w 1097746"/>
                <a:gd name="connsiteY13" fmla="*/ 350083 h 1028259"/>
                <a:gd name="connsiteX14" fmla="*/ 1097747 w 1097746"/>
                <a:gd name="connsiteY14" fmla="*/ 350083 h 1028259"/>
                <a:gd name="connsiteX15" fmla="*/ 1015396 w 1097746"/>
                <a:gd name="connsiteY15" fmla="*/ 143891 h 1028259"/>
                <a:gd name="connsiteX16" fmla="*/ 834737 w 1097746"/>
                <a:gd name="connsiteY16" fmla="*/ 33624 h 1028259"/>
                <a:gd name="connsiteX17" fmla="*/ 555228 w 1097746"/>
                <a:gd name="connsiteY17" fmla="*/ 205 h 1028259"/>
                <a:gd name="connsiteX18" fmla="*/ 258277 w 1097746"/>
                <a:gd name="connsiteY18" fmla="*/ 49453 h 1028259"/>
                <a:gd name="connsiteX19" fmla="*/ 66123 w 1097746"/>
                <a:gd name="connsiteY19" fmla="*/ 213839 h 1028259"/>
                <a:gd name="connsiteX20" fmla="*/ 0 w 1097746"/>
                <a:gd name="connsiteY20" fmla="*/ 502968 h 1028259"/>
                <a:gd name="connsiteX21" fmla="*/ 0 w 1097746"/>
                <a:gd name="connsiteY21" fmla="*/ 513927 h 1028259"/>
                <a:gd name="connsiteX22" fmla="*/ 12846 w 1097746"/>
                <a:gd name="connsiteY22" fmla="*/ 514468 h 1028259"/>
                <a:gd name="connsiteX23" fmla="*/ 0 w 1097746"/>
                <a:gd name="connsiteY23" fmla="*/ 514468 h 1028259"/>
                <a:gd name="connsiteX24" fmla="*/ 0 w 1097746"/>
                <a:gd name="connsiteY24" fmla="*/ 525292 h 1028259"/>
                <a:gd name="connsiteX25" fmla="*/ 66123 w 1097746"/>
                <a:gd name="connsiteY25" fmla="*/ 814421 h 1028259"/>
                <a:gd name="connsiteX26" fmla="*/ 258277 w 1097746"/>
                <a:gd name="connsiteY26" fmla="*/ 978806 h 1028259"/>
                <a:gd name="connsiteX27" fmla="*/ 555228 w 1097746"/>
                <a:gd name="connsiteY27" fmla="*/ 1028055 h 1028259"/>
                <a:gd name="connsiteX28" fmla="*/ 834737 w 1097746"/>
                <a:gd name="connsiteY28" fmla="*/ 994636 h 1028259"/>
                <a:gd name="connsiteX29" fmla="*/ 1015396 w 1097746"/>
                <a:gd name="connsiteY29" fmla="*/ 884370 h 1028259"/>
                <a:gd name="connsiteX30" fmla="*/ 1097747 w 1097746"/>
                <a:gd name="connsiteY30" fmla="*/ 678178 h 1028259"/>
                <a:gd name="connsiteX31" fmla="*/ 857589 w 1097746"/>
                <a:gd name="connsiteY31" fmla="*/ 678989 h 1028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97746" h="1028259">
                  <a:moveTo>
                    <a:pt x="857589" y="678989"/>
                  </a:moveTo>
                  <a:cubicBezTo>
                    <a:pt x="852992" y="715384"/>
                    <a:pt x="836495" y="749208"/>
                    <a:pt x="810396" y="775050"/>
                  </a:cubicBezTo>
                  <a:cubicBezTo>
                    <a:pt x="783486" y="799674"/>
                    <a:pt x="750222" y="816450"/>
                    <a:pt x="714387" y="823621"/>
                  </a:cubicBezTo>
                  <a:cubicBezTo>
                    <a:pt x="662056" y="833904"/>
                    <a:pt x="608777" y="838775"/>
                    <a:pt x="555364" y="837963"/>
                  </a:cubicBezTo>
                  <a:cubicBezTo>
                    <a:pt x="498570" y="839045"/>
                    <a:pt x="441911" y="830656"/>
                    <a:pt x="387686" y="813474"/>
                  </a:cubicBezTo>
                  <a:cubicBezTo>
                    <a:pt x="343332" y="798997"/>
                    <a:pt x="305064" y="770179"/>
                    <a:pt x="278965" y="731349"/>
                  </a:cubicBezTo>
                  <a:cubicBezTo>
                    <a:pt x="252733" y="692519"/>
                    <a:pt x="239887" y="636506"/>
                    <a:pt x="239887" y="565340"/>
                  </a:cubicBezTo>
                  <a:lnTo>
                    <a:pt x="239887" y="464273"/>
                  </a:lnTo>
                  <a:cubicBezTo>
                    <a:pt x="239887" y="392566"/>
                    <a:pt x="253003" y="336553"/>
                    <a:pt x="278965" y="297723"/>
                  </a:cubicBezTo>
                  <a:cubicBezTo>
                    <a:pt x="305064" y="259028"/>
                    <a:pt x="343197" y="230209"/>
                    <a:pt x="387415" y="215733"/>
                  </a:cubicBezTo>
                  <a:cubicBezTo>
                    <a:pt x="441640" y="198415"/>
                    <a:pt x="498300" y="190162"/>
                    <a:pt x="555093" y="191109"/>
                  </a:cubicBezTo>
                  <a:cubicBezTo>
                    <a:pt x="608508" y="190298"/>
                    <a:pt x="661785" y="195168"/>
                    <a:pt x="714116" y="205586"/>
                  </a:cubicBezTo>
                  <a:cubicBezTo>
                    <a:pt x="749951" y="212756"/>
                    <a:pt x="783216" y="229533"/>
                    <a:pt x="810260" y="254022"/>
                  </a:cubicBezTo>
                  <a:cubicBezTo>
                    <a:pt x="836224" y="279864"/>
                    <a:pt x="852856" y="313688"/>
                    <a:pt x="857318" y="350083"/>
                  </a:cubicBezTo>
                  <a:lnTo>
                    <a:pt x="1097747" y="350083"/>
                  </a:lnTo>
                  <a:cubicBezTo>
                    <a:pt x="1093420" y="274316"/>
                    <a:pt x="1064482" y="201933"/>
                    <a:pt x="1015396" y="143891"/>
                  </a:cubicBezTo>
                  <a:cubicBezTo>
                    <a:pt x="966984" y="90584"/>
                    <a:pt x="904242" y="52295"/>
                    <a:pt x="834737" y="33624"/>
                  </a:cubicBezTo>
                  <a:cubicBezTo>
                    <a:pt x="743596" y="9541"/>
                    <a:pt x="649479" y="-1689"/>
                    <a:pt x="555228" y="205"/>
                  </a:cubicBezTo>
                  <a:cubicBezTo>
                    <a:pt x="440017" y="205"/>
                    <a:pt x="340087" y="16847"/>
                    <a:pt x="258277" y="49453"/>
                  </a:cubicBezTo>
                  <a:cubicBezTo>
                    <a:pt x="177278" y="80707"/>
                    <a:pt x="109531" y="138614"/>
                    <a:pt x="66123" y="213839"/>
                  </a:cubicBezTo>
                  <a:cubicBezTo>
                    <a:pt x="23798" y="286629"/>
                    <a:pt x="1487" y="383772"/>
                    <a:pt x="0" y="502968"/>
                  </a:cubicBezTo>
                  <a:lnTo>
                    <a:pt x="0" y="513927"/>
                  </a:lnTo>
                  <a:lnTo>
                    <a:pt x="12846" y="514468"/>
                  </a:lnTo>
                  <a:lnTo>
                    <a:pt x="0" y="514468"/>
                  </a:lnTo>
                  <a:lnTo>
                    <a:pt x="0" y="525292"/>
                  </a:lnTo>
                  <a:cubicBezTo>
                    <a:pt x="1487" y="644489"/>
                    <a:pt x="23798" y="741632"/>
                    <a:pt x="66123" y="814421"/>
                  </a:cubicBezTo>
                  <a:cubicBezTo>
                    <a:pt x="109531" y="889646"/>
                    <a:pt x="177278" y="947688"/>
                    <a:pt x="258277" y="978806"/>
                  </a:cubicBezTo>
                  <a:cubicBezTo>
                    <a:pt x="340222" y="1011548"/>
                    <a:pt x="440288" y="1028055"/>
                    <a:pt x="555228" y="1028055"/>
                  </a:cubicBezTo>
                  <a:cubicBezTo>
                    <a:pt x="649479" y="1029949"/>
                    <a:pt x="743596" y="1018719"/>
                    <a:pt x="834737" y="994636"/>
                  </a:cubicBezTo>
                  <a:cubicBezTo>
                    <a:pt x="904242" y="975966"/>
                    <a:pt x="966984" y="937677"/>
                    <a:pt x="1015396" y="884370"/>
                  </a:cubicBezTo>
                  <a:cubicBezTo>
                    <a:pt x="1064482" y="826462"/>
                    <a:pt x="1093420" y="754079"/>
                    <a:pt x="1097747" y="678178"/>
                  </a:cubicBezTo>
                  <a:lnTo>
                    <a:pt x="857589" y="678989"/>
                  </a:lnTo>
                </a:path>
              </a:pathLst>
            </a:custGeom>
            <a:solidFill>
              <a:srgbClr val="FFFFFF"/>
            </a:solidFill>
            <a:ln w="13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175576" y="1077537"/>
            <a:ext cx="10873238" cy="5745624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127" b="0" i="0" kern="0" cap="all" spc="-71" baseline="0">
                <a:solidFill>
                  <a:schemeClr val="bg1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dirty="0"/>
              <a:t>Такое название</a:t>
            </a:r>
            <a:br>
              <a:rPr lang="en-US" dirty="0"/>
            </a:br>
            <a:r>
              <a:rPr lang="ru-RU" dirty="0"/>
              <a:t>презентации </a:t>
            </a:r>
            <a:br>
              <a:rPr lang="en-US" dirty="0"/>
            </a:br>
            <a:r>
              <a:rPr lang="ru-RU" dirty="0"/>
              <a:t>3-4 строки </a:t>
            </a:r>
            <a:br>
              <a:rPr lang="en-US" dirty="0"/>
            </a:br>
            <a:r>
              <a:rPr lang="ru-RU" dirty="0"/>
              <a:t>и больш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9888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-раздел 3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aphic 12">
            <a:extLst>
              <a:ext uri="{FF2B5EF4-FFF2-40B4-BE49-F238E27FC236}">
                <a16:creationId xmlns:a16="http://schemas.microsoft.com/office/drawing/2014/main" id="{836474A4-412E-2D1D-1CA0-8ED3881ED400}"/>
              </a:ext>
            </a:extLst>
          </p:cNvPr>
          <p:cNvGrpSpPr/>
          <p:nvPr/>
        </p:nvGrpSpPr>
        <p:grpSpPr>
          <a:xfrm>
            <a:off x="11421554" y="-374"/>
            <a:ext cx="770446" cy="770488"/>
            <a:chOff x="12388850" y="6718300"/>
            <a:chExt cx="1143000" cy="1143000"/>
          </a:xfrm>
        </p:grpSpPr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295C8C1D-A6F1-1F06-7B54-C6A2D6CC38FE}"/>
                </a:ext>
              </a:extLst>
            </p:cNvPr>
            <p:cNvSpPr/>
            <p:nvPr/>
          </p:nvSpPr>
          <p:spPr>
            <a:xfrm>
              <a:off x="12388850" y="6718300"/>
              <a:ext cx="1143000" cy="1143000"/>
            </a:xfrm>
            <a:custGeom>
              <a:avLst/>
              <a:gdLst>
                <a:gd name="connsiteX0" fmla="*/ 0 w 1143000"/>
                <a:gd name="connsiteY0" fmla="*/ 0 h 1143000"/>
                <a:gd name="connsiteX1" fmla="*/ 1143000 w 1143000"/>
                <a:gd name="connsiteY1" fmla="*/ 0 h 1143000"/>
                <a:gd name="connsiteX2" fmla="*/ 1143000 w 1143000"/>
                <a:gd name="connsiteY2" fmla="*/ 1143000 h 1143000"/>
                <a:gd name="connsiteX3" fmla="*/ 571500 w 1143000"/>
                <a:gd name="connsiteY3" fmla="*/ 1143000 h 1143000"/>
                <a:gd name="connsiteX4" fmla="*/ 571500 w 1143000"/>
                <a:gd name="connsiteY4" fmla="*/ 571500 h 1143000"/>
                <a:gd name="connsiteX5" fmla="*/ 0 w 1143000"/>
                <a:gd name="connsiteY5" fmla="*/ 57150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000" h="1143000">
                  <a:moveTo>
                    <a:pt x="0" y="0"/>
                  </a:moveTo>
                  <a:lnTo>
                    <a:pt x="1143000" y="0"/>
                  </a:lnTo>
                  <a:lnTo>
                    <a:pt x="1143000" y="1143000"/>
                  </a:lnTo>
                  <a:lnTo>
                    <a:pt x="571500" y="1143000"/>
                  </a:lnTo>
                  <a:lnTo>
                    <a:pt x="57150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53690BBA-5869-3DBB-4AE0-B2D98B1BABB8}"/>
                </a:ext>
              </a:extLst>
            </p:cNvPr>
            <p:cNvSpPr/>
            <p:nvPr/>
          </p:nvSpPr>
          <p:spPr>
            <a:xfrm>
              <a:off x="13150468" y="6805453"/>
              <a:ext cx="294036" cy="265366"/>
            </a:xfrm>
            <a:custGeom>
              <a:avLst/>
              <a:gdLst>
                <a:gd name="connsiteX0" fmla="*/ 0 w 294036"/>
                <a:gd name="connsiteY0" fmla="*/ 0 h 265366"/>
                <a:gd name="connsiteX1" fmla="*/ 0 w 294036"/>
                <a:gd name="connsiteY1" fmla="*/ 53340 h 265366"/>
                <a:gd name="connsiteX2" fmla="*/ 114871 w 294036"/>
                <a:gd name="connsiteY2" fmla="*/ 53340 h 265366"/>
                <a:gd name="connsiteX3" fmla="*/ 114871 w 294036"/>
                <a:gd name="connsiteY3" fmla="*/ 261938 h 265366"/>
                <a:gd name="connsiteX4" fmla="*/ 114871 w 294036"/>
                <a:gd name="connsiteY4" fmla="*/ 265367 h 265366"/>
                <a:gd name="connsiteX5" fmla="*/ 179165 w 294036"/>
                <a:gd name="connsiteY5" fmla="*/ 265367 h 265366"/>
                <a:gd name="connsiteX6" fmla="*/ 179165 w 294036"/>
                <a:gd name="connsiteY6" fmla="*/ 53340 h 265366"/>
                <a:gd name="connsiteX7" fmla="*/ 294037 w 294036"/>
                <a:gd name="connsiteY7" fmla="*/ 53340 h 265366"/>
                <a:gd name="connsiteX8" fmla="*/ 294037 w 294036"/>
                <a:gd name="connsiteY8" fmla="*/ 0 h 26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036" h="265366">
                  <a:moveTo>
                    <a:pt x="0" y="0"/>
                  </a:moveTo>
                  <a:lnTo>
                    <a:pt x="0" y="53340"/>
                  </a:lnTo>
                  <a:lnTo>
                    <a:pt x="114871" y="53340"/>
                  </a:lnTo>
                  <a:lnTo>
                    <a:pt x="114871" y="261938"/>
                  </a:lnTo>
                  <a:lnTo>
                    <a:pt x="114871" y="265367"/>
                  </a:lnTo>
                  <a:lnTo>
                    <a:pt x="179165" y="265367"/>
                  </a:lnTo>
                  <a:lnTo>
                    <a:pt x="179165" y="53340"/>
                  </a:lnTo>
                  <a:lnTo>
                    <a:pt x="294037" y="53340"/>
                  </a:lnTo>
                  <a:lnTo>
                    <a:pt x="294037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DC51545-FADD-8B22-BE63-4252EE549BB7}"/>
                </a:ext>
              </a:extLst>
            </p:cNvPr>
            <p:cNvSpPr/>
            <p:nvPr/>
          </p:nvSpPr>
          <p:spPr>
            <a:xfrm>
              <a:off x="12476956" y="6806215"/>
              <a:ext cx="351567" cy="263747"/>
            </a:xfrm>
            <a:custGeom>
              <a:avLst/>
              <a:gdLst>
                <a:gd name="connsiteX0" fmla="*/ 259747 w 351567"/>
                <a:gd name="connsiteY0" fmla="*/ 0 h 263747"/>
                <a:gd name="connsiteX1" fmla="*/ 175736 w 351567"/>
                <a:gd name="connsiteY1" fmla="*/ 174498 h 263747"/>
                <a:gd name="connsiteX2" fmla="*/ 91726 w 351567"/>
                <a:gd name="connsiteY2" fmla="*/ 0 h 263747"/>
                <a:gd name="connsiteX3" fmla="*/ 0 w 351567"/>
                <a:gd name="connsiteY3" fmla="*/ 0 h 263747"/>
                <a:gd name="connsiteX4" fmla="*/ 0 w 351567"/>
                <a:gd name="connsiteY4" fmla="*/ 263747 h 263747"/>
                <a:gd name="connsiteX5" fmla="*/ 64294 w 351567"/>
                <a:gd name="connsiteY5" fmla="*/ 263747 h 263747"/>
                <a:gd name="connsiteX6" fmla="*/ 64294 w 351567"/>
                <a:gd name="connsiteY6" fmla="*/ 74962 h 263747"/>
                <a:gd name="connsiteX7" fmla="*/ 146399 w 351567"/>
                <a:gd name="connsiteY7" fmla="*/ 234505 h 263747"/>
                <a:gd name="connsiteX8" fmla="*/ 205073 w 351567"/>
                <a:gd name="connsiteY8" fmla="*/ 234505 h 263747"/>
                <a:gd name="connsiteX9" fmla="*/ 287179 w 351567"/>
                <a:gd name="connsiteY9" fmla="*/ 74962 h 263747"/>
                <a:gd name="connsiteX10" fmla="*/ 287179 w 351567"/>
                <a:gd name="connsiteY10" fmla="*/ 263747 h 263747"/>
                <a:gd name="connsiteX11" fmla="*/ 351568 w 351567"/>
                <a:gd name="connsiteY11" fmla="*/ 263747 h 263747"/>
                <a:gd name="connsiteX12" fmla="*/ 351568 w 351567"/>
                <a:gd name="connsiteY12" fmla="*/ 0 h 26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1567" h="263747">
                  <a:moveTo>
                    <a:pt x="259747" y="0"/>
                  </a:moveTo>
                  <a:lnTo>
                    <a:pt x="175736" y="174498"/>
                  </a:lnTo>
                  <a:lnTo>
                    <a:pt x="91726" y="0"/>
                  </a:lnTo>
                  <a:lnTo>
                    <a:pt x="0" y="0"/>
                  </a:lnTo>
                  <a:lnTo>
                    <a:pt x="0" y="263747"/>
                  </a:lnTo>
                  <a:lnTo>
                    <a:pt x="64294" y="263747"/>
                  </a:lnTo>
                  <a:lnTo>
                    <a:pt x="64294" y="74962"/>
                  </a:lnTo>
                  <a:lnTo>
                    <a:pt x="146399" y="234505"/>
                  </a:lnTo>
                  <a:lnTo>
                    <a:pt x="205073" y="234505"/>
                  </a:lnTo>
                  <a:lnTo>
                    <a:pt x="287179" y="74962"/>
                  </a:lnTo>
                  <a:lnTo>
                    <a:pt x="287179" y="263747"/>
                  </a:lnTo>
                  <a:lnTo>
                    <a:pt x="351568" y="263747"/>
                  </a:lnTo>
                  <a:lnTo>
                    <a:pt x="351568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CDB98746-6E4C-9A18-C044-034A7A748037}"/>
                </a:ext>
              </a:extLst>
            </p:cNvPr>
            <p:cNvSpPr/>
            <p:nvPr/>
          </p:nvSpPr>
          <p:spPr>
            <a:xfrm>
              <a:off x="13150468" y="7503872"/>
              <a:ext cx="293751" cy="275085"/>
            </a:xfrm>
            <a:custGeom>
              <a:avLst/>
              <a:gdLst>
                <a:gd name="connsiteX0" fmla="*/ 229457 w 293751"/>
                <a:gd name="connsiteY0" fmla="*/ 181596 h 275085"/>
                <a:gd name="connsiteX1" fmla="*/ 216884 w 293751"/>
                <a:gd name="connsiteY1" fmla="*/ 207314 h 275085"/>
                <a:gd name="connsiteX2" fmla="*/ 191167 w 293751"/>
                <a:gd name="connsiteY2" fmla="*/ 220268 h 275085"/>
                <a:gd name="connsiteX3" fmla="*/ 148590 w 293751"/>
                <a:gd name="connsiteY3" fmla="*/ 224173 h 275085"/>
                <a:gd name="connsiteX4" fmla="*/ 103727 w 293751"/>
                <a:gd name="connsiteY4" fmla="*/ 217601 h 275085"/>
                <a:gd name="connsiteX5" fmla="*/ 74581 w 293751"/>
                <a:gd name="connsiteY5" fmla="*/ 195693 h 275085"/>
                <a:gd name="connsiteX6" fmla="*/ 64103 w 293751"/>
                <a:gd name="connsiteY6" fmla="*/ 151307 h 275085"/>
                <a:gd name="connsiteX7" fmla="*/ 64103 w 293751"/>
                <a:gd name="connsiteY7" fmla="*/ 124256 h 275085"/>
                <a:gd name="connsiteX8" fmla="*/ 74581 w 293751"/>
                <a:gd name="connsiteY8" fmla="*/ 79679 h 275085"/>
                <a:gd name="connsiteX9" fmla="*/ 103632 w 293751"/>
                <a:gd name="connsiteY9" fmla="*/ 57771 h 275085"/>
                <a:gd name="connsiteX10" fmla="*/ 148495 w 293751"/>
                <a:gd name="connsiteY10" fmla="*/ 51199 h 275085"/>
                <a:gd name="connsiteX11" fmla="*/ 191071 w 293751"/>
                <a:gd name="connsiteY11" fmla="*/ 55009 h 275085"/>
                <a:gd name="connsiteX12" fmla="*/ 216789 w 293751"/>
                <a:gd name="connsiteY12" fmla="*/ 67963 h 275085"/>
                <a:gd name="connsiteX13" fmla="*/ 229362 w 293751"/>
                <a:gd name="connsiteY13" fmla="*/ 93680 h 275085"/>
                <a:gd name="connsiteX14" fmla="*/ 293751 w 293751"/>
                <a:gd name="connsiteY14" fmla="*/ 93680 h 275085"/>
                <a:gd name="connsiteX15" fmla="*/ 271748 w 293751"/>
                <a:gd name="connsiteY15" fmla="*/ 38531 h 275085"/>
                <a:gd name="connsiteX16" fmla="*/ 223361 w 293751"/>
                <a:gd name="connsiteY16" fmla="*/ 9003 h 275085"/>
                <a:gd name="connsiteX17" fmla="*/ 148590 w 293751"/>
                <a:gd name="connsiteY17" fmla="*/ 50 h 275085"/>
                <a:gd name="connsiteX18" fmla="*/ 69152 w 293751"/>
                <a:gd name="connsiteY18" fmla="*/ 13194 h 275085"/>
                <a:gd name="connsiteX19" fmla="*/ 17717 w 293751"/>
                <a:gd name="connsiteY19" fmla="*/ 57200 h 275085"/>
                <a:gd name="connsiteX20" fmla="*/ 0 w 293751"/>
                <a:gd name="connsiteY20" fmla="*/ 134543 h 275085"/>
                <a:gd name="connsiteX21" fmla="*/ 0 w 293751"/>
                <a:gd name="connsiteY21" fmla="*/ 137495 h 275085"/>
                <a:gd name="connsiteX22" fmla="*/ 3429 w 293751"/>
                <a:gd name="connsiteY22" fmla="*/ 137591 h 275085"/>
                <a:gd name="connsiteX23" fmla="*/ 0 w 293751"/>
                <a:gd name="connsiteY23" fmla="*/ 137591 h 275085"/>
                <a:gd name="connsiteX24" fmla="*/ 0 w 293751"/>
                <a:gd name="connsiteY24" fmla="*/ 140543 h 275085"/>
                <a:gd name="connsiteX25" fmla="*/ 17717 w 293751"/>
                <a:gd name="connsiteY25" fmla="*/ 217886 h 275085"/>
                <a:gd name="connsiteX26" fmla="*/ 69152 w 293751"/>
                <a:gd name="connsiteY26" fmla="*/ 261892 h 275085"/>
                <a:gd name="connsiteX27" fmla="*/ 148590 w 293751"/>
                <a:gd name="connsiteY27" fmla="*/ 275036 h 275085"/>
                <a:gd name="connsiteX28" fmla="*/ 223361 w 293751"/>
                <a:gd name="connsiteY28" fmla="*/ 266083 h 275085"/>
                <a:gd name="connsiteX29" fmla="*/ 271748 w 293751"/>
                <a:gd name="connsiteY29" fmla="*/ 236555 h 275085"/>
                <a:gd name="connsiteX30" fmla="*/ 293751 w 293751"/>
                <a:gd name="connsiteY30" fmla="*/ 181406 h 275085"/>
                <a:gd name="connsiteX31" fmla="*/ 229457 w 293751"/>
                <a:gd name="connsiteY31" fmla="*/ 181596 h 27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93751" h="275085">
                  <a:moveTo>
                    <a:pt x="229457" y="181596"/>
                  </a:moveTo>
                  <a:cubicBezTo>
                    <a:pt x="228219" y="191312"/>
                    <a:pt x="223838" y="200360"/>
                    <a:pt x="216884" y="207314"/>
                  </a:cubicBezTo>
                  <a:cubicBezTo>
                    <a:pt x="209645" y="213886"/>
                    <a:pt x="200787" y="218363"/>
                    <a:pt x="191167" y="220268"/>
                  </a:cubicBezTo>
                  <a:cubicBezTo>
                    <a:pt x="177165" y="223030"/>
                    <a:pt x="162877" y="224363"/>
                    <a:pt x="148590" y="224173"/>
                  </a:cubicBezTo>
                  <a:cubicBezTo>
                    <a:pt x="133350" y="224459"/>
                    <a:pt x="118205" y="222268"/>
                    <a:pt x="103727" y="217601"/>
                  </a:cubicBezTo>
                  <a:cubicBezTo>
                    <a:pt x="91821" y="213695"/>
                    <a:pt x="81629" y="205980"/>
                    <a:pt x="74581" y="195693"/>
                  </a:cubicBezTo>
                  <a:cubicBezTo>
                    <a:pt x="67532" y="185311"/>
                    <a:pt x="64103" y="170357"/>
                    <a:pt x="64103" y="151307"/>
                  </a:cubicBezTo>
                  <a:lnTo>
                    <a:pt x="64103" y="124256"/>
                  </a:lnTo>
                  <a:cubicBezTo>
                    <a:pt x="64103" y="105015"/>
                    <a:pt x="67627" y="90061"/>
                    <a:pt x="74581" y="79679"/>
                  </a:cubicBezTo>
                  <a:cubicBezTo>
                    <a:pt x="81534" y="69296"/>
                    <a:pt x="91726" y="61581"/>
                    <a:pt x="103632" y="57771"/>
                  </a:cubicBezTo>
                  <a:cubicBezTo>
                    <a:pt x="118110" y="53104"/>
                    <a:pt x="133255" y="50913"/>
                    <a:pt x="148495" y="51199"/>
                  </a:cubicBezTo>
                  <a:cubicBezTo>
                    <a:pt x="162782" y="51008"/>
                    <a:pt x="177070" y="52247"/>
                    <a:pt x="191071" y="55009"/>
                  </a:cubicBezTo>
                  <a:cubicBezTo>
                    <a:pt x="200692" y="56914"/>
                    <a:pt x="209550" y="61391"/>
                    <a:pt x="216789" y="67963"/>
                  </a:cubicBezTo>
                  <a:cubicBezTo>
                    <a:pt x="223742" y="74916"/>
                    <a:pt x="228219" y="83965"/>
                    <a:pt x="229362" y="93680"/>
                  </a:cubicBezTo>
                  <a:lnTo>
                    <a:pt x="293751" y="93680"/>
                  </a:lnTo>
                  <a:cubicBezTo>
                    <a:pt x="292608" y="73392"/>
                    <a:pt x="284893" y="54056"/>
                    <a:pt x="271748" y="38531"/>
                  </a:cubicBezTo>
                  <a:cubicBezTo>
                    <a:pt x="258794" y="24243"/>
                    <a:pt x="242030" y="14051"/>
                    <a:pt x="223361" y="9003"/>
                  </a:cubicBezTo>
                  <a:cubicBezTo>
                    <a:pt x="198977" y="2526"/>
                    <a:pt x="173736" y="-427"/>
                    <a:pt x="148590" y="50"/>
                  </a:cubicBezTo>
                  <a:cubicBezTo>
                    <a:pt x="117729" y="50"/>
                    <a:pt x="90964" y="4526"/>
                    <a:pt x="69152" y="13194"/>
                  </a:cubicBezTo>
                  <a:cubicBezTo>
                    <a:pt x="47435" y="21576"/>
                    <a:pt x="29337" y="37102"/>
                    <a:pt x="17717" y="57200"/>
                  </a:cubicBezTo>
                  <a:cubicBezTo>
                    <a:pt x="6382" y="76631"/>
                    <a:pt x="381" y="102634"/>
                    <a:pt x="0" y="134543"/>
                  </a:cubicBezTo>
                  <a:lnTo>
                    <a:pt x="0" y="137495"/>
                  </a:lnTo>
                  <a:lnTo>
                    <a:pt x="3429" y="137591"/>
                  </a:lnTo>
                  <a:lnTo>
                    <a:pt x="0" y="137591"/>
                  </a:lnTo>
                  <a:lnTo>
                    <a:pt x="0" y="140543"/>
                  </a:lnTo>
                  <a:cubicBezTo>
                    <a:pt x="381" y="172452"/>
                    <a:pt x="6382" y="198360"/>
                    <a:pt x="17717" y="217886"/>
                  </a:cubicBezTo>
                  <a:cubicBezTo>
                    <a:pt x="29337" y="237984"/>
                    <a:pt x="47435" y="253510"/>
                    <a:pt x="69152" y="261892"/>
                  </a:cubicBezTo>
                  <a:cubicBezTo>
                    <a:pt x="91059" y="270655"/>
                    <a:pt x="117824" y="275036"/>
                    <a:pt x="148590" y="275036"/>
                  </a:cubicBezTo>
                  <a:cubicBezTo>
                    <a:pt x="173831" y="275513"/>
                    <a:pt x="198977" y="272560"/>
                    <a:pt x="223361" y="266083"/>
                  </a:cubicBezTo>
                  <a:cubicBezTo>
                    <a:pt x="241935" y="261130"/>
                    <a:pt x="258794" y="250843"/>
                    <a:pt x="271748" y="236555"/>
                  </a:cubicBezTo>
                  <a:cubicBezTo>
                    <a:pt x="284893" y="221030"/>
                    <a:pt x="292608" y="201694"/>
                    <a:pt x="293751" y="181406"/>
                  </a:cubicBezTo>
                  <a:lnTo>
                    <a:pt x="229457" y="1815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5B6B3A-981F-5054-5CD2-E0D77FFC9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7931" y="797864"/>
            <a:ext cx="10646026" cy="2097701"/>
          </a:xfrm>
        </p:spPr>
        <p:txBody>
          <a:bodyPr/>
          <a:lstStyle>
            <a:lvl1pPr>
              <a:lnSpc>
                <a:spcPct val="90000"/>
              </a:lnSpc>
              <a:defRPr sz="3998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,  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00B61A1-B320-9C76-23BF-0D5EE402F5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83988" y="148976"/>
            <a:ext cx="578386" cy="181885"/>
          </a:xfrm>
          <a:prstGeom prst="rect">
            <a:avLst/>
          </a:prstGeom>
        </p:spPr>
        <p:txBody>
          <a:bodyPr lIns="0" tIns="0" rIns="0" bIns="0"/>
          <a:lstStyle>
            <a:lvl1pPr>
              <a:defRPr sz="988" b="0" i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fld id="{1B200421-228B-BD43-9045-8FEDD241C1B1}" type="slidenum">
              <a:rPr lang="ru-RU" smtClean="0"/>
              <a:t>‹#›</a:t>
            </a:fld>
            <a:endParaRPr lang="ru-RU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4425B867-8272-ABA9-1A3C-EA8BC91071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586" y="8290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F0115790-FCE2-ACBB-7E24-83DDF6DEE5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86" y="102298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13-15</a:t>
            </a:r>
            <a:endParaRPr lang="en-RU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10DAF752-2844-AB5E-AB61-F0948E213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BFF8568-4BEB-4CA2-34AF-08726490A300}"/>
              </a:ext>
            </a:extLst>
          </p:cNvPr>
          <p:cNvSpPr/>
          <p:nvPr/>
        </p:nvSpPr>
        <p:spPr>
          <a:xfrm>
            <a:off x="7857449" y="3429000"/>
            <a:ext cx="433455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D7EF426B-59BE-B635-7C59-50659E344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49501" y="3644239"/>
            <a:ext cx="2648760" cy="6410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EBE0CC4-BFC6-B487-EF46-95BAE0E106D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62014" y="364423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CEF7BDE3-E2A8-0AB5-6A95-072A56AAE6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62014" y="3838215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58BEBF87-1F53-DD29-A28A-619C4CF8D3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49501" y="4377034"/>
            <a:ext cx="2648760" cy="6410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CD90CC2B-7A1C-DE51-19F5-BB8B55ECC11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2014" y="437703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0802AEBB-9992-65A9-654A-160B061971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62014" y="457100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66F1C493-5D4D-9FD0-2A20-624F64C65F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49501" y="5109828"/>
            <a:ext cx="2648760" cy="6410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CC8E3394-E1BD-A079-3368-EA2E1CBE002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62014" y="510982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E8B6C278-13DD-8C54-1C42-09D70BC05DE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62014" y="530380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8FB43FE8-848C-7DD5-2569-FFE07C392C3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49501" y="5842623"/>
            <a:ext cx="2648760" cy="6410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DD96DFCA-AB3D-2416-08AB-306F8BA3ABE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62014" y="584262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7F84914C-41F9-640B-AE1E-0426411D039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62014" y="603659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4284062971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41" name="Table Placeholder 40">
            <a:extLst>
              <a:ext uri="{FF2B5EF4-FFF2-40B4-BE49-F238E27FC236}">
                <a16:creationId xmlns:a16="http://schemas.microsoft.com/office/drawing/2014/main" id="{C98EE4DE-18C5-37A7-6680-05FE6302CE9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90407" y="1305290"/>
            <a:ext cx="7074168" cy="403385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5" b="0" i="0"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49576" y="2122581"/>
            <a:ext cx="2969750" cy="1306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раткое текстовое описание данный таблицы, если оно требуется; вводное слово об информации в таблице.</a:t>
            </a:r>
            <a:endParaRPr lang="en-RU" dirty="0"/>
          </a:p>
        </p:txBody>
      </p:sp>
      <p:sp>
        <p:nvSpPr>
          <p:cNvPr id="53" name="Picture Placeholder 25">
            <a:extLst>
              <a:ext uri="{FF2B5EF4-FFF2-40B4-BE49-F238E27FC236}">
                <a16:creationId xmlns:a16="http://schemas.microsoft.com/office/drawing/2014/main" id="{56F69510-1947-9C4A-234E-3DF188BB048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666E2C45-8A5B-2FE8-6255-B27E264791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0C44541B-35FE-2FE4-FE33-A4130D380C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2129824B-E0C0-A921-2F5A-BFD4D5A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9" name="Title 58">
            <a:extLst>
              <a:ext uri="{FF2B5EF4-FFF2-40B4-BE49-F238E27FC236}">
                <a16:creationId xmlns:a16="http://schemas.microsoft.com/office/drawing/2014/main" id="{0462E639-32ED-BA57-A0B0-7AF2B11151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Слайд с таблицей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BCB5EAD-D673-475E-3B1E-7AC82FE057B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9474CC-ABAB-FF79-60DD-8D62B637916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2A99126-3E35-379B-D9F5-2D6D804F7001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D7B5379-7A94-1274-00E1-7B18C92D21B8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293C2B84-10EE-6B34-A896-982F94A05C6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94D297C1-669B-56E4-5C8F-380507FE0B2E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Picture Placeholder 25">
            <a:extLst>
              <a:ext uri="{FF2B5EF4-FFF2-40B4-BE49-F238E27FC236}">
                <a16:creationId xmlns:a16="http://schemas.microsoft.com/office/drawing/2014/main" id="{0318A887-51B3-DCBD-B045-DB88F0F6283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83629592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41" name="Table Placeholder 40">
            <a:extLst>
              <a:ext uri="{FF2B5EF4-FFF2-40B4-BE49-F238E27FC236}">
                <a16:creationId xmlns:a16="http://schemas.microsoft.com/office/drawing/2014/main" id="{C98EE4DE-18C5-37A7-6680-05FE6302CE9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90407" y="1305290"/>
            <a:ext cx="11222793" cy="403385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5" b="0" i="0"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49576" y="5955971"/>
            <a:ext cx="2963624" cy="73700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раткое текстовое описание данный таблицы,  если оно требуется; вводное слово об информации  в таблице. Краткое текстовое описание данный таблицы, если оно требуется; вводное слово об информации в таблице.</a:t>
            </a:r>
            <a:endParaRPr lang="en-RU" dirty="0"/>
          </a:p>
        </p:txBody>
      </p:sp>
      <p:sp>
        <p:nvSpPr>
          <p:cNvPr id="53" name="Picture Placeholder 25">
            <a:extLst>
              <a:ext uri="{FF2B5EF4-FFF2-40B4-BE49-F238E27FC236}">
                <a16:creationId xmlns:a16="http://schemas.microsoft.com/office/drawing/2014/main" id="{56F69510-1947-9C4A-234E-3DF188BB048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666E2C45-8A5B-2FE8-6255-B27E264791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2129824B-E0C0-A921-2F5A-BFD4D5A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377" y="620621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9" name="Title 58">
            <a:extLst>
              <a:ext uri="{FF2B5EF4-FFF2-40B4-BE49-F238E27FC236}">
                <a16:creationId xmlns:a16="http://schemas.microsoft.com/office/drawing/2014/main" id="{0462E639-32ED-BA57-A0B0-7AF2B11151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Слайд с таблицей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BCB5EAD-D673-475E-3B1E-7AC82FE057B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9474CC-ABAB-FF79-60DD-8D62B637916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2A99126-3E35-379B-D9F5-2D6D804F7001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D7B5379-7A94-1274-00E1-7B18C92D21B8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293C2B84-10EE-6B34-A896-982F94A05C6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B8DA07C-E982-8F56-B9F8-8FF24D77EB04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Picture Placeholder 25">
            <a:extLst>
              <a:ext uri="{FF2B5EF4-FFF2-40B4-BE49-F238E27FC236}">
                <a16:creationId xmlns:a16="http://schemas.microsoft.com/office/drawing/2014/main" id="{327E7677-0463-1F72-6A37-F5AA26621D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696806414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41" name="Table Placeholder 40">
            <a:extLst>
              <a:ext uri="{FF2B5EF4-FFF2-40B4-BE49-F238E27FC236}">
                <a16:creationId xmlns:a16="http://schemas.microsoft.com/office/drawing/2014/main" id="{C98EE4DE-18C5-37A7-6680-05FE6302CE9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90407" y="1473326"/>
            <a:ext cx="11811187" cy="46824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5" b="0" i="0"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06058" y="1000611"/>
            <a:ext cx="1641022" cy="25618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753" b="0" i="0" spc="0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ыполненные задачи</a:t>
            </a:r>
            <a:endParaRPr lang="en-RU" dirty="0"/>
          </a:p>
        </p:txBody>
      </p:sp>
      <p:sp>
        <p:nvSpPr>
          <p:cNvPr id="53" name="Picture Placeholder 25">
            <a:extLst>
              <a:ext uri="{FF2B5EF4-FFF2-40B4-BE49-F238E27FC236}">
                <a16:creationId xmlns:a16="http://schemas.microsoft.com/office/drawing/2014/main" id="{56F69510-1947-9C4A-234E-3DF188BB048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666E2C45-8A5B-2FE8-6255-B27E264791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9" name="Title 58">
            <a:extLst>
              <a:ext uri="{FF2B5EF4-FFF2-40B4-BE49-F238E27FC236}">
                <a16:creationId xmlns:a16="http://schemas.microsoft.com/office/drawing/2014/main" id="{0462E639-32ED-BA57-A0B0-7AF2B11151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5312719" cy="418288"/>
          </a:xfrm>
        </p:spPr>
        <p:txBody>
          <a:bodyPr/>
          <a:lstStyle/>
          <a:p>
            <a:r>
              <a:rPr lang="ru-RU" dirty="0"/>
              <a:t>Слайд с таблицей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BCB5EAD-D673-475E-3B1E-7AC82FE057B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9474CC-ABAB-FF79-60DD-8D62B637916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2A99126-3E35-379B-D9F5-2D6D804F7001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D7B5379-7A94-1274-00E1-7B18C92D21B8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293C2B84-10EE-6B34-A896-982F94A05C6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963E9B1-01CC-8CC4-53CD-8273B2A11B8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52F7545F-E68C-0ED1-B6B6-8D534327A7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138A16-09E1-3349-10EE-FDE8858A12E4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Picture Placeholder 25">
            <a:extLst>
              <a:ext uri="{FF2B5EF4-FFF2-40B4-BE49-F238E27FC236}">
                <a16:creationId xmlns:a16="http://schemas.microsoft.com/office/drawing/2014/main" id="{F8E57861-F55E-1B60-2C01-A39ADD8388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2736089381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4 пун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32377" y="2156798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1</a:t>
            </a:r>
            <a:endParaRPr lang="en-RU" dirty="0"/>
          </a:p>
        </p:txBody>
      </p:sp>
      <p:sp>
        <p:nvSpPr>
          <p:cNvPr id="53" name="Picture Placeholder 25">
            <a:extLst>
              <a:ext uri="{FF2B5EF4-FFF2-40B4-BE49-F238E27FC236}">
                <a16:creationId xmlns:a16="http://schemas.microsoft.com/office/drawing/2014/main" id="{56F69510-1947-9C4A-234E-3DF188BB048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88B1068-49AB-7E60-59DD-CD56DF3F8B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22819" y="2443543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2C541CF-B692-C25D-29EB-67A5961303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7" y="3227877"/>
            <a:ext cx="4119165" cy="911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6D1EB518-886B-DBA8-AA5E-A5807CC492F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7" y="4526667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</a:t>
            </a:r>
            <a:r>
              <a:rPr lang="en-US" dirty="0"/>
              <a:t>2</a:t>
            </a:r>
            <a:endParaRPr lang="en-RU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CAF0B02-BC50-8A88-5C0B-7C4639AEBEC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22819" y="4813412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491A200-F6EA-54DF-6257-50478EA3D3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32377" y="5597745"/>
            <a:ext cx="4119165" cy="8724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E1EFC34-AB7D-D88D-BCE9-170FB0D95A7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51878" y="2156798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</a:t>
            </a:r>
            <a:r>
              <a:rPr lang="en-US" dirty="0"/>
              <a:t>3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C424C04A-C4E1-2EC3-ADB0-58491650084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42320" y="2443543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D6BC0D2-AF04-B0A8-39F6-0D8751D2A2B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51878" y="3227877"/>
            <a:ext cx="4119165" cy="911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7297774-CD52-4A50-CF0B-E3C4E9C4346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51878" y="4526667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</a:t>
            </a:r>
            <a:r>
              <a:rPr lang="en-US" dirty="0"/>
              <a:t>4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2C3B1D5B-2E28-6916-B3F5-BED76AA1874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42320" y="4813412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B9E661FA-3186-28A1-2B35-8DFA11D0572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51878" y="5597745"/>
            <a:ext cx="4119165" cy="8724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D327555-9B9E-6490-575B-05FE259A3E8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54E8029-E017-26B1-CC61-BB149531C3C1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85AFE56-6BE1-FDC4-1BBB-41708576FE9C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C278FA35-914A-77A0-5A67-FFC86D7B4784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94DFBEBA-0B82-56A6-6D61-10AD4D8F1613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4EA5DE1E-E931-E4BA-7A5A-1BEA637E9FF3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Picture Placeholder 25">
            <a:extLst>
              <a:ext uri="{FF2B5EF4-FFF2-40B4-BE49-F238E27FC236}">
                <a16:creationId xmlns:a16="http://schemas.microsoft.com/office/drawing/2014/main" id="{4EB39761-263B-03B3-46C9-9BFE55B24C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4219775479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4 пункт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32377" y="2156798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1</a:t>
            </a:r>
            <a:endParaRPr lang="en-RU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88B1068-49AB-7E60-59DD-CD56DF3F8B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22819" y="2443543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2C541CF-B692-C25D-29EB-67A5961303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7" y="3227877"/>
            <a:ext cx="4119165" cy="911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6D1EB518-886B-DBA8-AA5E-A5807CC492F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7" y="4526667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</a:t>
            </a:r>
            <a:r>
              <a:rPr lang="en-US" dirty="0"/>
              <a:t>2</a:t>
            </a:r>
            <a:endParaRPr lang="en-RU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CAF0B02-BC50-8A88-5C0B-7C4639AEBEC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22819" y="4813412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491A200-F6EA-54DF-6257-50478EA3D3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32377" y="5597745"/>
            <a:ext cx="4119165" cy="8724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E1EFC34-AB7D-D88D-BCE9-170FB0D95A7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51878" y="2156798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</a:t>
            </a:r>
            <a:r>
              <a:rPr lang="en-US" dirty="0"/>
              <a:t>3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C424C04A-C4E1-2EC3-ADB0-58491650084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42320" y="2443543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D6BC0D2-AF04-B0A8-39F6-0D8751D2A2B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51878" y="3227877"/>
            <a:ext cx="4119165" cy="911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7297774-CD52-4A50-CF0B-E3C4E9C4346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51878" y="4526667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</a:t>
            </a:r>
            <a:r>
              <a:rPr lang="en-US" dirty="0"/>
              <a:t>4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2C3B1D5B-2E28-6916-B3F5-BED76AA1874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42320" y="4813412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B9E661FA-3186-28A1-2B35-8DFA11D0572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51878" y="5597745"/>
            <a:ext cx="4119165" cy="8724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EC59C2E-7B0E-A5CC-EDBD-C7BAD3F399D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DE1D83C-2A47-8F5D-5171-0066B3DC745B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21C27DAC-5BED-4A02-C1D3-438D3B09C54C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79A32B62-905E-CA69-82D3-B79CA38B40BF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3D90D2F7-D94E-5B02-AF76-475076E7E362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733081178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505DA091-ACF9-2282-4FA0-8C637985DB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64574" y="3429000"/>
            <a:ext cx="4927426" cy="343497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22" b="0" i="0">
                <a:solidFill>
                  <a:schemeClr val="bg1">
                    <a:lumMod val="6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71E3BD7C-2380-D79F-FD8F-E19B9EFE99A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0410" y="5745154"/>
            <a:ext cx="1765590" cy="99390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317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Олег</a:t>
            </a:r>
            <a:r>
              <a:rPr lang="en-US" dirty="0"/>
              <a:t> </a:t>
            </a:r>
            <a:r>
              <a:rPr lang="ru-RU" dirty="0"/>
              <a:t>Шаповалов</a:t>
            </a:r>
            <a:endParaRPr lang="en-US" dirty="0"/>
          </a:p>
          <a:p>
            <a:pPr lvl="0"/>
            <a:endParaRPr lang="en-US" dirty="0"/>
          </a:p>
          <a:p>
            <a:pPr lvl="0"/>
            <a:r>
              <a:rPr lang="ru-RU" dirty="0"/>
              <a:t>Директор отдела финансов</a:t>
            </a:r>
            <a:endParaRPr lang="en-RU" dirty="0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1C865DE8-16BD-16C7-83DD-98AE22FC5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8852043" cy="1985882"/>
          </a:xfrm>
        </p:spPr>
        <p:txBody>
          <a:bodyPr/>
          <a:lstStyle/>
          <a:p>
            <a:r>
              <a:rPr lang="ru-RU" dirty="0"/>
              <a:t>«Мы повысили популярность среди возрастной категории 20-35 лет на 40%*, перевыполнив поставленную цель в два раза».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4AFAE32-F8EC-3EDF-53F9-450467628D17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891731B-E1E2-BC79-507E-4B3D0DED7E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867D774-5853-3C50-C6D6-E0AC9B6C02B9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60918BF8-BF47-189F-A481-13ACE8CD7783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B6B8EB4-3366-A579-86AC-A715C852C891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89645268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зображени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505DA091-ACF9-2282-4FA0-8C637985DB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104855"/>
            <a:ext cx="8449576" cy="475314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22" b="0" i="0">
                <a:solidFill>
                  <a:schemeClr val="bg1">
                    <a:lumMod val="6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1583D41-5EBE-834F-0501-FE41984EF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1"/>
            <a:ext cx="8852043" cy="993902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ru-RU" dirty="0"/>
              <a:t>Презентация </a:t>
            </a:r>
            <a:r>
              <a:rPr lang="en-GB" dirty="0"/>
              <a:t>CGI </a:t>
            </a:r>
            <a:br>
              <a:rPr lang="ru-RU" dirty="0"/>
            </a:br>
            <a:r>
              <a:rPr lang="ru-RU" dirty="0"/>
              <a:t>контента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981DFC9F-D636-D2D7-2044-EF56C26780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55483" y="2104855"/>
            <a:ext cx="2946111" cy="127840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Tx/>
              <a:buNone/>
              <a:defRPr sz="1317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ы сделали немного контента, </a:t>
            </a:r>
            <a:br>
              <a:rPr lang="ru-RU" dirty="0"/>
            </a:br>
            <a:r>
              <a:rPr lang="ru-RU" dirty="0"/>
              <a:t>и предлагаем его посмотреть. </a:t>
            </a:r>
            <a:br>
              <a:rPr lang="ru-RU" dirty="0"/>
            </a:br>
            <a:r>
              <a:rPr lang="ru-RU" dirty="0"/>
              <a:t>Он очень красивый, и в целом интересно увидеть, как он работает.</a:t>
            </a:r>
            <a:endParaRPr lang="en-RU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B999D1B-A1A5-3007-DDAD-8AFB905F4A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55483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6C4D18E-493B-79E6-BC3A-786DF5BA9C5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492215A-7FAD-09F2-232C-647FB53267F2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0991698A-1746-F765-6F1C-C60BC6A785E2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AB4C9F6-BAAB-0FCD-7D6F-17335345092E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80429F10-92ED-70F7-34C3-51F1AF6DFA3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2095001063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идео-фай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5223ED97-CC1F-5077-11BE-2671EB05C7F2}"/>
              </a:ext>
            </a:extLst>
          </p:cNvPr>
          <p:cNvSpPr>
            <a:spLocks noGrp="1"/>
          </p:cNvSpPr>
          <p:nvPr>
            <p:ph type="media" sz="quarter" idx="28"/>
          </p:nvPr>
        </p:nvSpPr>
        <p:spPr>
          <a:xfrm>
            <a:off x="0" y="2104855"/>
            <a:ext cx="8449576" cy="4753145"/>
          </a:xfrm>
        </p:spPr>
        <p:txBody>
          <a:bodyPr anchor="ctr"/>
          <a:lstStyle>
            <a:lvl1pPr algn="ctr">
              <a:defRPr b="0" i="0">
                <a:solidFill>
                  <a:schemeClr val="bg1">
                    <a:lumMod val="6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клипа мультимедиа</a:t>
            </a:r>
            <a:endParaRPr lang="en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1583D41-5EBE-834F-0501-FE41984EF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1"/>
            <a:ext cx="8852043" cy="993902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ru-RU" dirty="0"/>
              <a:t>Презентация </a:t>
            </a:r>
            <a:r>
              <a:rPr lang="en-GB" dirty="0"/>
              <a:t>CGI </a:t>
            </a:r>
            <a:br>
              <a:rPr lang="ru-RU" dirty="0"/>
            </a:br>
            <a:r>
              <a:rPr lang="ru-RU" dirty="0"/>
              <a:t>контента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981DFC9F-D636-D2D7-2044-EF56C26780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55483" y="2104855"/>
            <a:ext cx="2946111" cy="127840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Tx/>
              <a:buNone/>
              <a:defRPr sz="1317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ы сделали немного контента, </a:t>
            </a:r>
            <a:br>
              <a:rPr lang="ru-RU" dirty="0"/>
            </a:br>
            <a:r>
              <a:rPr lang="ru-RU" dirty="0"/>
              <a:t>и предлагаем его посмотреть. </a:t>
            </a:r>
            <a:br>
              <a:rPr lang="ru-RU" dirty="0"/>
            </a:br>
            <a:r>
              <a:rPr lang="ru-RU" dirty="0"/>
              <a:t>Он очень красивый, и в целом интересно увидеть, как он работает.</a:t>
            </a:r>
            <a:endParaRPr lang="en-RU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B999D1B-A1A5-3007-DDAD-8AFB905F4A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55483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6C4D18E-493B-79E6-BC3A-786DF5BA9C5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492215A-7FAD-09F2-232C-647FB53267F2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0991698A-1746-F765-6F1C-C60BC6A785E2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AB4C9F6-BAAB-0FCD-7D6F-17335345092E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80429F10-92ED-70F7-34C3-51F1AF6DFA3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656209847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зображение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628A071C-65D9-D9E7-EBEC-5DFB12354FB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4BE8238-146A-C1B4-4C9A-A25AF18537F1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DC3AF5C1-8F89-2ECD-BC28-909E1E4C49DB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A2CCF2B2-3364-4ACA-6054-54438670D97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321B5D4-1442-AFF1-8D89-32EBC8EC4ACC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1583D41-5EBE-834F-0501-FE41984EF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1453943"/>
            <a:ext cx="5319138" cy="1944334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«Мы повысили популярность среди возрастной категории 20-35 лет на 40%*, перевыполнив поставленную цель в два раза».</a:t>
            </a:r>
            <a:endParaRPr lang="en-R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739FB8A-D47D-741A-CFF8-0170A6F651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51147" y="5745154"/>
            <a:ext cx="1765590" cy="99390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317" b="0" i="0" spc="28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Олег</a:t>
            </a:r>
            <a:r>
              <a:rPr lang="en-US" dirty="0"/>
              <a:t> </a:t>
            </a:r>
            <a:r>
              <a:rPr lang="ru-RU" dirty="0"/>
              <a:t>Шаповалов</a:t>
            </a:r>
            <a:endParaRPr lang="en-US" dirty="0"/>
          </a:p>
          <a:p>
            <a:pPr lvl="0"/>
            <a:endParaRPr lang="en-US" dirty="0"/>
          </a:p>
          <a:p>
            <a:pPr lvl="0"/>
            <a:r>
              <a:rPr lang="ru-RU" dirty="0"/>
              <a:t>Директор отдела финансов</a:t>
            </a:r>
            <a:endParaRPr lang="en-RU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FF7DC41-8029-66EE-19B0-346BC797F22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12960350"/>
              <a:gd name="connsiteY0" fmla="*/ 0 h 14579600"/>
              <a:gd name="connsiteX1" fmla="*/ 11322350 w 12960350"/>
              <a:gd name="connsiteY1" fmla="*/ 0 h 14579600"/>
              <a:gd name="connsiteX2" fmla="*/ 11322350 w 12960350"/>
              <a:gd name="connsiteY2" fmla="*/ 1638000 h 14579600"/>
              <a:gd name="connsiteX3" fmla="*/ 12960350 w 12960350"/>
              <a:gd name="connsiteY3" fmla="*/ 1638000 h 14579600"/>
              <a:gd name="connsiteX4" fmla="*/ 12960350 w 12960350"/>
              <a:gd name="connsiteY4" fmla="*/ 14579600 h 14579600"/>
              <a:gd name="connsiteX5" fmla="*/ 0 w 12960350"/>
              <a:gd name="connsiteY5" fmla="*/ 14579600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60350" h="14579600">
                <a:moveTo>
                  <a:pt x="0" y="0"/>
                </a:moveTo>
                <a:lnTo>
                  <a:pt x="11322350" y="0"/>
                </a:lnTo>
                <a:lnTo>
                  <a:pt x="11322350" y="1638000"/>
                </a:lnTo>
                <a:lnTo>
                  <a:pt x="12960350" y="1638000"/>
                </a:lnTo>
                <a:lnTo>
                  <a:pt x="12960350" y="14579600"/>
                </a:lnTo>
                <a:lnTo>
                  <a:pt x="0" y="145796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b="0" i="0">
                <a:solidFill>
                  <a:schemeClr val="accent1">
                    <a:lumMod val="60000"/>
                    <a:lumOff val="4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34827590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зображение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0AFDC63-E252-D496-6A0E-40609A627068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852C25B-E413-8A1D-9762-0CF214DA7B8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349DEBBE-9613-517E-88ED-62460BC49DAB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5847C801-1610-4930-B5C7-1A0E13D05783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A3D74B5-0B0A-AB28-C30C-FC5CEDFF2C97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1583D41-5EBE-834F-0501-FE41984EF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1453943"/>
            <a:ext cx="5319138" cy="1944334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«Мы повысили популярность среди возрастной категории 20-35 лет на 40%*, перевыполнив поставленную цель в два раза».</a:t>
            </a:r>
            <a:endParaRPr lang="en-R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739FB8A-D47D-741A-CFF8-0170A6F651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51147" y="5745154"/>
            <a:ext cx="1765590" cy="99390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317" b="0" i="0" spc="28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Олег</a:t>
            </a:r>
            <a:r>
              <a:rPr lang="en-US" dirty="0"/>
              <a:t> </a:t>
            </a:r>
            <a:r>
              <a:rPr lang="ru-RU" dirty="0"/>
              <a:t>Шаповалов</a:t>
            </a:r>
            <a:endParaRPr lang="en-US" dirty="0"/>
          </a:p>
          <a:p>
            <a:pPr lvl="0"/>
            <a:endParaRPr lang="en-US" dirty="0"/>
          </a:p>
          <a:p>
            <a:pPr lvl="0"/>
            <a:r>
              <a:rPr lang="ru-RU" dirty="0"/>
              <a:t>Директор отдела финансов</a:t>
            </a:r>
            <a:endParaRPr lang="en-RU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FF7DC41-8029-66EE-19B0-346BC797F22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12960350"/>
              <a:gd name="connsiteY0" fmla="*/ 0 h 14579600"/>
              <a:gd name="connsiteX1" fmla="*/ 11322350 w 12960350"/>
              <a:gd name="connsiteY1" fmla="*/ 0 h 14579600"/>
              <a:gd name="connsiteX2" fmla="*/ 11322350 w 12960350"/>
              <a:gd name="connsiteY2" fmla="*/ 1638000 h 14579600"/>
              <a:gd name="connsiteX3" fmla="*/ 12960350 w 12960350"/>
              <a:gd name="connsiteY3" fmla="*/ 1638000 h 14579600"/>
              <a:gd name="connsiteX4" fmla="*/ 12960350 w 12960350"/>
              <a:gd name="connsiteY4" fmla="*/ 14579600 h 14579600"/>
              <a:gd name="connsiteX5" fmla="*/ 0 w 12960350"/>
              <a:gd name="connsiteY5" fmla="*/ 14579600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60350" h="14579600">
                <a:moveTo>
                  <a:pt x="0" y="0"/>
                </a:moveTo>
                <a:lnTo>
                  <a:pt x="11322350" y="0"/>
                </a:lnTo>
                <a:lnTo>
                  <a:pt x="11322350" y="1638000"/>
                </a:lnTo>
                <a:lnTo>
                  <a:pt x="12960350" y="1638000"/>
                </a:lnTo>
                <a:lnTo>
                  <a:pt x="12960350" y="14579600"/>
                </a:lnTo>
                <a:lnTo>
                  <a:pt x="0" y="145796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b="0" i="0">
                <a:solidFill>
                  <a:schemeClr val="bg2">
                    <a:lumMod val="7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2254367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-раздел 4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2">
            <a:extLst>
              <a:ext uri="{FF2B5EF4-FFF2-40B4-BE49-F238E27FC236}">
                <a16:creationId xmlns:a16="http://schemas.microsoft.com/office/drawing/2014/main" id="{A03FF33D-712B-9258-E9BF-0731F286CF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47"/>
            <a:ext cx="12192000" cy="6858000"/>
          </a:xfrm>
          <a:custGeom>
            <a:avLst/>
            <a:gdLst>
              <a:gd name="connsiteX0" fmla="*/ 0 w 25920700"/>
              <a:gd name="connsiteY0" fmla="*/ 0 h 14579600"/>
              <a:gd name="connsiteX1" fmla="*/ 24283308 w 25920700"/>
              <a:gd name="connsiteY1" fmla="*/ 0 h 14579600"/>
              <a:gd name="connsiteX2" fmla="*/ 24283308 w 25920700"/>
              <a:gd name="connsiteY2" fmla="*/ 1638001 h 14579600"/>
              <a:gd name="connsiteX3" fmla="*/ 25920700 w 25920700"/>
              <a:gd name="connsiteY3" fmla="*/ 1638001 h 14579600"/>
              <a:gd name="connsiteX4" fmla="*/ 25920700 w 25920700"/>
              <a:gd name="connsiteY4" fmla="*/ 14579600 h 14579600"/>
              <a:gd name="connsiteX5" fmla="*/ 0 w 25920700"/>
              <a:gd name="connsiteY5" fmla="*/ 14579600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20700" h="14579600">
                <a:moveTo>
                  <a:pt x="0" y="0"/>
                </a:moveTo>
                <a:lnTo>
                  <a:pt x="24283308" y="0"/>
                </a:lnTo>
                <a:lnTo>
                  <a:pt x="24283308" y="1638001"/>
                </a:lnTo>
                <a:lnTo>
                  <a:pt x="25920700" y="1638001"/>
                </a:lnTo>
                <a:lnTo>
                  <a:pt x="25920700" y="14579600"/>
                </a:lnTo>
                <a:lnTo>
                  <a:pt x="0" y="145796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5B6B3A-981F-5054-5CD2-E0D77FFC9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7931" y="797864"/>
            <a:ext cx="9433142" cy="2097701"/>
          </a:xfrm>
        </p:spPr>
        <p:txBody>
          <a:bodyPr/>
          <a:lstStyle>
            <a:lvl1pPr>
              <a:lnSpc>
                <a:spcPct val="90000"/>
              </a:lnSpc>
              <a:defRPr sz="3998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,  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00B61A1-B320-9C76-23BF-0D5EE402F5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83988" y="148976"/>
            <a:ext cx="578386" cy="181885"/>
          </a:xfrm>
          <a:prstGeom prst="rect">
            <a:avLst/>
          </a:prstGeom>
        </p:spPr>
        <p:txBody>
          <a:bodyPr lIns="0" tIns="0" rIns="0" bIns="0"/>
          <a:lstStyle>
            <a:lvl1pPr>
              <a:defRPr sz="988" b="0" i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fld id="{1B200421-228B-BD43-9045-8FEDD241C1B1}" type="slidenum">
              <a:rPr lang="ru-RU" smtClean="0"/>
              <a:t>‹#›</a:t>
            </a:fld>
            <a:endParaRPr lang="ru-RU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4425B867-8272-ABA9-1A3C-EA8BC91071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586" y="8290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F0115790-FCE2-ACBB-7E24-83DDF6DEE5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86" y="102298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13-15</a:t>
            </a:r>
            <a:endParaRPr lang="en-RU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10DAF752-2844-AB5E-AB61-F0948E213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A0F21B3-7DE1-9305-4FCE-4131F91DE215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ED72CB9-9478-4BAC-01D8-117927501EE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16B3016-63FC-EEDD-3217-320D3C9CD8C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8D5D605-9FC0-8DD6-3BE9-8844133F51C5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BCA33C5E-1EE2-F588-2081-B99C51D339A6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</p:spTree>
    <p:extLst>
      <p:ext uri="{BB962C8B-B14F-4D97-AF65-F5344CB8AC3E}">
        <p14:creationId xmlns:p14="http://schemas.microsoft.com/office/powerpoint/2010/main" val="1098140616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Акциден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CC3FE9EA-88CA-AF4D-0AB6-63C781E815C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CBC8212-1124-90A2-8BE9-084D21FF10C7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6EBB01-2B75-9005-F4E4-A6442E5ACB6E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0BB2000B-DC36-F2B6-E552-54E2BC39B37B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264391C5-E1FE-BADE-82C6-AFDE1F4E5050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1583D41-5EBE-834F-0501-FE41984EF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2355515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5 лет</a:t>
            </a:r>
            <a:br>
              <a:rPr lang="ru-RU" dirty="0"/>
            </a:br>
            <a:r>
              <a:rPr lang="ru-RU" dirty="0"/>
              <a:t>подряд</a:t>
            </a:r>
            <a:endParaRPr lang="en-RU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8694C4A-260F-4D53-8D33-6FE75C84F39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7" y="742117"/>
            <a:ext cx="7688696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tabLst/>
              <a:defRPr lang="en-GB" sz="2352" b="0" i="0" cap="none" spc="71" baseline="0" smtClean="0">
                <a:latin typeface="MTS Text Medium" panose="020B0306020102020303" pitchFamily="34" charset="0"/>
                <a:ea typeface="MTS Text Medium" panose="020B0306020102020303" pitchFamily="34" charset="0"/>
                <a:cs typeface="Arial Black" charset="0"/>
              </a:defRPr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RU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r>
              <a:rPr lang="ru-RU" dirty="0"/>
              <a:t>В кино мы сопереживаем героям, испытываем те же эмоции. Все дело в законах драматургии, которые одинаковы для всех видов контента.</a:t>
            </a:r>
            <a:endParaRPr lang="en-RU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FF4392F-1A47-B834-7BEB-8C87A89355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288D46-2543-4E45-CAAC-38036CDA36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53BBECB-1B4A-95D1-8EA6-05583EE577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83E1332-A7B1-9228-CE52-BCEAEE317B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32377" y="1796954"/>
            <a:ext cx="8289783" cy="32472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2579" b="0" i="0">
                <a:solidFill>
                  <a:schemeClr val="bg1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49</a:t>
            </a:r>
            <a:r>
              <a:rPr lang="en-US" dirty="0"/>
              <a:t>%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437130594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Акциденция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FF4392F-1A47-B834-7BEB-8C87A89355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288D46-2543-4E45-CAAC-38036CDA36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53BBECB-1B4A-95D1-8EA6-05583EE577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94D9F986-AA09-70A2-C715-567F1A44A0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869734" y="5446360"/>
            <a:ext cx="2951338" cy="99390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Tx/>
              <a:buNone/>
              <a:defRPr sz="1317" b="0" i="0" spc="28" baseline="0">
                <a:solidFill>
                  <a:schemeClr val="accent6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оличество пользователей, присоединившихся в этом году </a:t>
            </a:r>
            <a:br>
              <a:rPr lang="ru-RU" dirty="0"/>
            </a:br>
            <a:r>
              <a:rPr lang="ru-RU" dirty="0"/>
              <a:t>в сервису </a:t>
            </a:r>
            <a:r>
              <a:rPr lang="en-GB" dirty="0"/>
              <a:t>KION.</a:t>
            </a:r>
            <a:endParaRPr lang="en-RU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95F6980-10DF-088C-6484-4B1B3181CA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ru-RU" dirty="0"/>
              <a:t>Достижения</a:t>
            </a:r>
            <a:endParaRPr lang="en-RU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A73F72-B0D9-442C-2ACD-222C4B09EA7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D7AC0E4-61CA-2DC3-0D80-7B89836FA60F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8BD514D-49CD-E291-3335-EFB47F596C17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E4325F05-EDB9-1846-0640-77FB27264DF9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C50912AB-9D88-4FD1-FCA2-A8725203573A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94DCACA4-28FA-97AD-485A-CF252C63239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54148" y="2209737"/>
            <a:ext cx="9683706" cy="2438528"/>
          </a:xfrm>
          <a:prstGeom prst="roundRect">
            <a:avLst>
              <a:gd name="adj" fmla="val 50000"/>
            </a:avLst>
          </a:prstGeom>
          <a:ln w="25400">
            <a:solidFill>
              <a:schemeClr val="accent6"/>
            </a:solidFill>
          </a:ln>
        </p:spPr>
        <p:txBody>
          <a:bodyPr wrap="none" lIns="1620000" tIns="468000" rIns="1620000" bIns="468000" anchor="ctr">
            <a:spAutoFit/>
          </a:bodyPr>
          <a:lstStyle>
            <a:lvl1pPr algn="ctr">
              <a:defRPr sz="5127" b="0" i="0" cap="all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</a:lstStyle>
          <a:p>
            <a:pPr lvl="0"/>
            <a:r>
              <a:rPr lang="ru-RU" dirty="0"/>
              <a:t>6 миллионов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679834912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32377" y="2836300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1</a:t>
            </a:r>
            <a:endParaRPr lang="en-RU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88B1068-49AB-7E60-59DD-CD56DF3F8B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0407" y="2836300"/>
            <a:ext cx="2334360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solidFill>
                  <a:schemeClr val="bg1">
                    <a:lumMod val="5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Сделано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2C541CF-B692-C25D-29EB-67A5961303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7" y="3001663"/>
            <a:ext cx="2673907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solidFill>
                  <a:schemeClr val="bg1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</a:t>
            </a:r>
          </a:p>
          <a:p>
            <a:pPr rtl="0"/>
            <a:br>
              <a:rPr lang="ru-RU" dirty="0"/>
            </a:br>
            <a:endParaRPr lang="ru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1"/>
            <a:ext cx="5905593" cy="1204420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C04CC56-FDBA-5FC9-3A96-E4AF2FA24B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2377" y="3569095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2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072FEB3-EFDC-ACF7-5651-4074420B81E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2377" y="3734457"/>
            <a:ext cx="2673907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solidFill>
                  <a:schemeClr val="bg1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br>
              <a:rPr lang="ru-RU" dirty="0"/>
            </a:br>
            <a:endParaRPr lang="ru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2F50C80B-D20E-B93A-1537-D59E2BE54BA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32377" y="4429332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3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2A9FCBB-5A23-92C6-FCD5-6975E677CD4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32377" y="4594694"/>
            <a:ext cx="2673907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solidFill>
                  <a:schemeClr val="bg1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Сделали аналитику по характеристикам аудитории сайта Первого канала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F931DA1-182F-6CA9-850E-153A23079554}"/>
              </a:ext>
            </a:extLst>
          </p:cNvPr>
          <p:cNvCxnSpPr/>
          <p:nvPr/>
        </p:nvCxnSpPr>
        <p:spPr>
          <a:xfrm>
            <a:off x="190407" y="2661358"/>
            <a:ext cx="561587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E3313CE4-539A-14A6-20F0-26E88C3B38F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28434" y="2836300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1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386F9A0-6312-86AE-AAF6-0877FDE9C8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86464" y="2836300"/>
            <a:ext cx="2334360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Планы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59BEE4FB-E3DA-AE25-8896-1A04756312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28433" y="3001663"/>
            <a:ext cx="2673907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</a:t>
            </a:r>
          </a:p>
          <a:p>
            <a:pPr rtl="0"/>
            <a:br>
              <a:rPr lang="ru-RU" dirty="0"/>
            </a:br>
            <a:endParaRPr lang="ru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C438C8CA-69AB-1A6F-1BCC-1AE9FB993BD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28434" y="3569095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2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6F1A4324-6EF1-BE96-8A4C-3E77E2BF68A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328433" y="3734457"/>
            <a:ext cx="2673907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br>
              <a:rPr lang="ru-RU" dirty="0"/>
            </a:br>
            <a:endParaRPr lang="ru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C55D2D8D-9B43-0A8C-BFC0-A5AE5E018FC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328434" y="4429332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3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F8CF74ED-8A22-59D6-0181-CC1A238F0A8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28433" y="4594694"/>
            <a:ext cx="2673907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Сделали аналитику по характеристикам аудитории сайта Первого канала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BAE205D-D7CC-4540-53D0-CD0E9D0CADBC}"/>
              </a:ext>
            </a:extLst>
          </p:cNvPr>
          <p:cNvCxnSpPr/>
          <p:nvPr/>
        </p:nvCxnSpPr>
        <p:spPr>
          <a:xfrm>
            <a:off x="6386464" y="2661358"/>
            <a:ext cx="561587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5BD09882-9865-6E85-7A99-B82FD4B155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267390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3A9BBCD8-49D2-9AD7-428C-6F2CBC64D2D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8433" y="6507468"/>
            <a:ext cx="2673160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A9225A5-2DF1-88D7-61B0-5CBF80B284A7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79E854A-C374-7C8C-1990-21E81B76031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97EA8B19-0645-52F6-A3C6-E00353EF0744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925D155-1ACE-E1A5-5994-7ADDA600FAF9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A9004B87-7105-7A06-80F3-0B2D10FA1B43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2232833527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1583D41-5EBE-834F-0501-FE41984EF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7667890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Немного важного текста, суммирующего общий смысл абзацев, либо факт, который впоследствии подробнее раскрыт в тексте.</a:t>
            </a:r>
            <a:endParaRPr lang="en-RU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FF4392F-1A47-B834-7BEB-8C87A89355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288D46-2543-4E45-CAAC-38036CDA36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53BBECB-1B4A-95D1-8EA6-05583EE577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26AD1E6A-C444-0F8A-6D8D-D47522AE83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3429000"/>
            <a:ext cx="4124731" cy="2931361"/>
          </a:xfrm>
          <a:prstGeom prst="rect">
            <a:avLst/>
          </a:prstGeom>
        </p:spPr>
        <p:txBody>
          <a:bodyPr lIns="0" tIns="0" rIns="0" bIns="0" anchor="t"/>
          <a:lstStyle>
            <a:lvl1pPr marL="241950" indent="-241950">
              <a:spcBef>
                <a:spcPts val="0"/>
              </a:spcBef>
              <a:spcAft>
                <a:spcPts val="3105"/>
              </a:spcAft>
              <a:buFont typeface="+mj-lt"/>
              <a:buAutoNum type="arabicPeriod"/>
              <a:defRPr sz="1317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</a:t>
            </a:r>
            <a:br>
              <a:rPr lang="ru-RU" dirty="0"/>
            </a:br>
            <a:r>
              <a:rPr lang="ru-RU" dirty="0"/>
              <a:t>он позволяет отслеживать заходы </a:t>
            </a:r>
            <a:br>
              <a:rPr lang="ru-RU" dirty="0"/>
            </a:br>
            <a:r>
              <a:rPr lang="ru-RU" dirty="0"/>
              <a:t>на различные страницы сайта ХХХ  </a:t>
            </a:r>
          </a:p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  </a:t>
            </a:r>
          </a:p>
          <a:p>
            <a:pPr rtl="0"/>
            <a:r>
              <a:rPr lang="ru-RU" dirty="0"/>
              <a:t>Сделали аналитику по характеристикам аудитории сайта Первого канала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36B124F-DBE4-3983-E832-3444F16DDB2A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6720327-6171-6BBF-C360-3FFD5D912052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D1F7C2CA-5019-4864-8ED7-91EEB7EF30B4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281887C-3A03-D29C-81D8-63FA668DEB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066152F4-258C-DC41-A989-E79AEB32D96A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4221934669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88B1068-49AB-7E60-59DD-CD56DF3F8B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7" y="2132269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Заголовок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2C541CF-B692-C25D-29EB-67A5961303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6" y="2446120"/>
            <a:ext cx="4132198" cy="826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834154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F931DA1-182F-6CA9-850E-153A23079554}"/>
              </a:ext>
            </a:extLst>
          </p:cNvPr>
          <p:cNvCxnSpPr>
            <a:cxnSpLocks/>
          </p:cNvCxnSpPr>
          <p:nvPr/>
        </p:nvCxnSpPr>
        <p:spPr>
          <a:xfrm>
            <a:off x="3132377" y="2008215"/>
            <a:ext cx="4132197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5BD09882-9865-6E85-7A99-B82FD4B155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407" y="2446121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9FAAD44-9412-6712-7422-1937435349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00512" y="3325058"/>
            <a:ext cx="3964062" cy="676914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 pitchFamily="2" charset="2"/>
              <a:buChar char="§"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0BAAED2-0989-67EF-F43D-AD9A5D38FF8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32377" y="4526666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Заголовок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0B01FD2-BA77-330F-C62B-8612D2A3998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32376" y="4840517"/>
            <a:ext cx="4132197" cy="826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2B56DBF-C6C2-34E5-7F14-7179C62EF1C8}"/>
              </a:ext>
            </a:extLst>
          </p:cNvPr>
          <p:cNvCxnSpPr>
            <a:cxnSpLocks/>
          </p:cNvCxnSpPr>
          <p:nvPr/>
        </p:nvCxnSpPr>
        <p:spPr>
          <a:xfrm>
            <a:off x="3132377" y="4402612"/>
            <a:ext cx="4132197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50EEA6F9-E2C7-ACC4-F46D-2E476A4480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00512" y="5719455"/>
            <a:ext cx="3964061" cy="676914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 pitchFamily="2" charset="2"/>
              <a:buChar char="§"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56279723-4C1B-3341-326C-5C85F883318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54073" y="2132269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Заголовок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EE6AB05-4E70-AF1E-86F5-583E613002C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54072" y="2446120"/>
            <a:ext cx="4147521" cy="826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7300B6E-28AD-FF2A-D05B-18B59175924D}"/>
              </a:ext>
            </a:extLst>
          </p:cNvPr>
          <p:cNvCxnSpPr>
            <a:cxnSpLocks/>
          </p:cNvCxnSpPr>
          <p:nvPr/>
        </p:nvCxnSpPr>
        <p:spPr>
          <a:xfrm>
            <a:off x="7854073" y="2008215"/>
            <a:ext cx="4147521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3851B56-FDA0-3C44-13F7-1AB103F4EF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22208" y="3325058"/>
            <a:ext cx="3979386" cy="676914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 pitchFamily="2" charset="2"/>
              <a:buChar char="§"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10F6C59F-D1E7-FFC9-B162-1E5832D34F5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54073" y="4526666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Заголовок</a:t>
            </a:r>
            <a:endParaRPr lang="en-RU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B170F026-F176-5489-2E67-3C5DC6CA31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54072" y="4840517"/>
            <a:ext cx="4147521" cy="826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18E8ACF-C60D-B874-780D-4E2EEF9D8324}"/>
              </a:ext>
            </a:extLst>
          </p:cNvPr>
          <p:cNvCxnSpPr>
            <a:cxnSpLocks/>
          </p:cNvCxnSpPr>
          <p:nvPr/>
        </p:nvCxnSpPr>
        <p:spPr>
          <a:xfrm>
            <a:off x="7854073" y="4402612"/>
            <a:ext cx="4147521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0DEA82A4-338E-1316-B35E-4445C50D008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22208" y="5719455"/>
            <a:ext cx="3979386" cy="676914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 pitchFamily="2" charset="2"/>
              <a:buChar char="§"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DE597823-A8CF-2A4B-D90F-7D8E16D423F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407" y="280699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46B817E-1B62-0B76-58AB-379FF65FE7D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6933A67-12DB-F7FF-8CD7-53486F67C88C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37E54BEA-A51C-7073-C7B2-E5A472320D8B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4ECBCEBE-04C1-8622-79F6-F71F5755C76C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72063DF4-D145-3B87-2137-9997345678DD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182693225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88B1068-49AB-7E60-59DD-CD56DF3F8B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15216" y="2132269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0" baseline="0">
                <a:solidFill>
                  <a:schemeClr val="bg1">
                    <a:lumMod val="9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Заголовок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2C541CF-B692-C25D-29EB-67A5961303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12542" y="2446120"/>
            <a:ext cx="5300658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>
                    <a:lumMod val="9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</a:t>
            </a:r>
            <a:br>
              <a:rPr lang="en-US" dirty="0"/>
            </a:br>
            <a:r>
              <a:rPr lang="ru-RU" dirty="0"/>
              <a:t>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</a:t>
            </a:r>
            <a:br>
              <a:rPr lang="en-US" dirty="0"/>
            </a:br>
            <a:r>
              <a:rPr lang="ru-RU" dirty="0"/>
              <a:t>аналитики.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834154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F931DA1-182F-6CA9-850E-153A23079554}"/>
              </a:ext>
            </a:extLst>
          </p:cNvPr>
          <p:cNvCxnSpPr>
            <a:cxnSpLocks/>
          </p:cNvCxnSpPr>
          <p:nvPr/>
        </p:nvCxnSpPr>
        <p:spPr>
          <a:xfrm>
            <a:off x="6112542" y="2008215"/>
            <a:ext cx="588905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9FAAD44-9412-6712-7422-1937435349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12542" y="3820598"/>
            <a:ext cx="3964062" cy="1447160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 pitchFamily="2" charset="2"/>
              <a:buChar char="§"/>
              <a:defRPr sz="1317" b="0" i="0" spc="0" baseline="0">
                <a:solidFill>
                  <a:schemeClr val="bg1">
                    <a:lumMod val="9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  <a:endParaRPr lang="en-US" dirty="0"/>
          </a:p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  <a:p>
            <a:pPr rtl="0"/>
            <a:endParaRPr lang="ru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3418EB2-0DAE-5444-A15A-590828A79A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5821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A5345BB-C6A9-A99C-6E26-7C8CD6BF79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1254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2EC670D-2E87-693B-952E-C9ADDD4F5B82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1B4BD31-B67D-2B1C-CD60-FE628F49D6F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698D2A7-19DE-2E22-56FF-A6DF523D5B9E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ADF3F854-A564-9CA7-91E6-CCBE4BBA0435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0E6B7915-CE2A-8A2A-7201-AAB961F9B8F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76877772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2C541CF-B692-C25D-29EB-67A5961303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7" y="2075030"/>
            <a:ext cx="4132198" cy="14471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.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834154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9FAAD44-9412-6712-7422-1937435349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6" y="4060861"/>
            <a:ext cx="7078648" cy="2013059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lnSpc>
                <a:spcPct val="90000"/>
              </a:lnSpc>
              <a:spcBef>
                <a:spcPts val="0"/>
              </a:spcBef>
              <a:buSzPct val="70000"/>
              <a:buFont typeface="Wingdings" pitchFamily="2" charset="2"/>
              <a:buChar char="§"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  <a:endParaRPr lang="en-US" dirty="0"/>
          </a:p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  <a:p>
            <a:pPr rtl="0"/>
            <a:endParaRPr lang="ru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B17CBE2-D39F-AA31-06C7-A23A54537C2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63422" y="2075030"/>
            <a:ext cx="4132198" cy="14471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.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BBD793A-3663-0F2A-26FB-27469725DD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407" y="207503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063C171-DFB8-F5E9-1E78-F0CE0C5F31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407" y="2435906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E8B8639-D79C-E235-AA6F-490FE150C83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A204601-A81C-91A6-513D-79A7982255D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3EE9E924-A83D-4B8B-2076-F94B25A08744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6F5726-F073-567B-E994-BDACAE05A05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074A937-1099-CE26-C3DF-3C5D6FCF635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2930851015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834154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9FAAD44-9412-6712-7422-1937435349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6" y="4541678"/>
            <a:ext cx="7078648" cy="2013059"/>
          </a:xfrm>
          <a:prstGeom prst="rect">
            <a:avLst/>
          </a:prstGeom>
        </p:spPr>
        <p:txBody>
          <a:bodyPr lIns="0" tIns="0" rIns="0" bIns="0"/>
          <a:lstStyle>
            <a:lvl1pPr marL="274061" marR="0" indent="-274061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Поставим счётчик на сайт ХХХ</a:t>
            </a:r>
          </a:p>
          <a:p>
            <a:pPr rtl="0"/>
            <a:r>
              <a:rPr lang="ru-RU" dirty="0"/>
              <a:t>ХХХ млн людей / месяц 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  <a:p>
            <a:pPr rtl="0"/>
            <a:r>
              <a:rPr lang="ru-RU" dirty="0"/>
              <a:t>Поставим счётчик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BBD793A-3663-0F2A-26FB-27469725DD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407" y="207503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063C171-DFB8-F5E9-1E78-F0CE0C5F31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407" y="2435906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E0C4139-E927-C995-E362-206B72BC7EB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32376" y="2109105"/>
            <a:ext cx="7078648" cy="530227"/>
          </a:xfrm>
          <a:prstGeom prst="rect">
            <a:avLst/>
          </a:prstGeom>
        </p:spPr>
        <p:txBody>
          <a:bodyPr lIns="0" tIns="0" rIns="0" bIns="0"/>
          <a:lstStyle>
            <a:lvl1pPr marL="274061" marR="0" indent="-274061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2D1316D-B8D5-1960-FE91-1BC8855F93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25251" y="2714892"/>
            <a:ext cx="4132198" cy="14471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.</a:t>
            </a:r>
            <a:br>
              <a:rPr lang="en-US" dirty="0"/>
            </a:br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.</a:t>
            </a:r>
          </a:p>
          <a:p>
            <a:pPr rtl="0"/>
            <a:endParaRPr lang="ru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5D20340-29F7-FCA7-ED51-DCDE766A0C5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AC080C6-38B6-5879-782D-F07A9BC808E2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3A18D80-CDAC-0F42-CDAA-7BCC4DFC38BA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60E24B9A-3462-E837-FB32-D9A294B4F037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36E55049-A6D9-76A5-C122-EF64A4954A59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4102960705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470327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BBD793A-3663-0F2A-26FB-27469725DD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407" y="5224111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063C171-DFB8-F5E9-1E78-F0CE0C5F31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407" y="558498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1BB5986-9224-1E4D-823B-AA93332DD252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9010" y="162683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44585294-8B9F-1FFD-E9B8-90175B805B3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26068" y="162683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673F794F-7974-A182-6496-BFFABAB4E63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226068" y="4277764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1CEB6ED1-7C65-72F9-8352-7FACBD5B81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8363580" y="162683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388777C6-5FD3-FD44-7942-01879D4A199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363580" y="4277764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DF7F9AA8-0D7E-C2B6-3B75-A4ECE8BD5C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0407" y="2516114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9D971856-E64C-B555-4520-156CB2AAA73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0407" y="2829964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E48FCEE6-B7F0-D08B-C0CA-13C7893CB5B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24586" y="2516114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7234C189-6B34-6F1E-C081-F781B4BAABF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324586" y="2829964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387554EB-1B41-B8C3-8D5C-6F56866E47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58765" y="2516114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2A4ECECC-689E-6F70-A9F7-FC7F0D0EAEB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458765" y="2829964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D6368A73-B635-1360-74EE-EB731332892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324586" y="5175826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3D470211-5304-1904-0785-16FCC33B734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324586" y="5489676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4B5DEFC0-23BE-131F-1A76-B7D9C9F9C39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458765" y="5175826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9B7D57DA-2968-D641-CBA5-F142020DCA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458765" y="5489676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8164E48-7C33-8EC7-4439-2697047FA678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0D17940-14B3-11D2-DF23-C7B38F1F6562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FCE8B754-1374-72EE-E88A-E0DB805C5A30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7824A444-B7AA-4304-CD8D-BCFA87501E9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D4942824-BAB1-8BF4-813D-DBA81C0764DC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2378152572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с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470327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BBD793A-3663-0F2A-26FB-27469725DD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24586" y="622034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063C171-DFB8-F5E9-1E78-F0CE0C5F31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24586" y="648621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DF7F9AA8-0D7E-C2B6-3B75-A4ECE8BD5C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0407" y="1858132"/>
            <a:ext cx="2939412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9D971856-E64C-B555-4520-156CB2AAA73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0407" y="2191048"/>
            <a:ext cx="2941970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E48FCEE6-B7F0-D08B-C0CA-13C7893CB5B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24586" y="1858132"/>
            <a:ext cx="2939412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387554EB-1B41-B8C3-8D5C-6F56866E47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58765" y="1858132"/>
            <a:ext cx="2954435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B0FC424-5508-1639-8F8B-C107584B173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324586" y="2191048"/>
            <a:ext cx="2941970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C8F7E4E-26CB-305E-75FC-D5C0CD83F93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458765" y="2191048"/>
            <a:ext cx="2954435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88F2B318-7400-08F6-81B4-AB4D2772224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90407" y="3764991"/>
            <a:ext cx="294197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84D8E917-4CA1-E3BA-BFB6-87F7991C442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90407" y="4097906"/>
            <a:ext cx="2941970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E77A29A-7B9C-A03B-6C4D-305AD1E653E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324586" y="3764991"/>
            <a:ext cx="2939412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D048CEA6-4770-65A8-D077-4561AC0C7BF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324586" y="4097906"/>
            <a:ext cx="2941970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AF66CA-7AF6-D361-BD63-20254E5B8FF3}"/>
              </a:ext>
            </a:extLst>
          </p:cNvPr>
          <p:cNvCxnSpPr>
            <a:cxnSpLocks/>
          </p:cNvCxnSpPr>
          <p:nvPr/>
        </p:nvCxnSpPr>
        <p:spPr>
          <a:xfrm>
            <a:off x="192965" y="1518827"/>
            <a:ext cx="293941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BCD7E5D-4EE0-1CD0-8D50-F49B82A6C567}"/>
              </a:ext>
            </a:extLst>
          </p:cNvPr>
          <p:cNvCxnSpPr>
            <a:cxnSpLocks/>
          </p:cNvCxnSpPr>
          <p:nvPr/>
        </p:nvCxnSpPr>
        <p:spPr>
          <a:xfrm>
            <a:off x="192965" y="3425686"/>
            <a:ext cx="293941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E0EE1AE-8B03-1374-4FA5-FF7C4E8537FC}"/>
              </a:ext>
            </a:extLst>
          </p:cNvPr>
          <p:cNvCxnSpPr>
            <a:cxnSpLocks/>
          </p:cNvCxnSpPr>
          <p:nvPr/>
        </p:nvCxnSpPr>
        <p:spPr>
          <a:xfrm>
            <a:off x="4307540" y="1518827"/>
            <a:ext cx="2959015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1CD780F-C9CF-19FC-C7CE-4E7388617345}"/>
              </a:ext>
            </a:extLst>
          </p:cNvPr>
          <p:cNvCxnSpPr>
            <a:cxnSpLocks/>
          </p:cNvCxnSpPr>
          <p:nvPr/>
        </p:nvCxnSpPr>
        <p:spPr>
          <a:xfrm>
            <a:off x="4307540" y="3425686"/>
            <a:ext cx="2959015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1D48FEF-D3C9-19D4-5D68-AB1A5BC3126E}"/>
              </a:ext>
            </a:extLst>
          </p:cNvPr>
          <p:cNvCxnSpPr>
            <a:cxnSpLocks/>
          </p:cNvCxnSpPr>
          <p:nvPr/>
        </p:nvCxnSpPr>
        <p:spPr>
          <a:xfrm>
            <a:off x="8450790" y="1518827"/>
            <a:ext cx="2971051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D4FA3F01-6C6E-CF7E-A926-0332DDDEA808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7865891" y="3429000"/>
            <a:ext cx="4350751" cy="3429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D8DECAE-9CAC-F4CF-BA87-D3B63C6B28B9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4F2240A-1EBD-88C2-BABB-E4644292C8BA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BCB7C3EB-BDFA-4590-C9A4-4CECB873A407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96C7D2FB-2379-C71B-5AAA-EE21360A89A0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B8B101D0-6911-CA2B-E1C7-154A946A2258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63240746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рупное изображение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aphic 12">
            <a:extLst>
              <a:ext uri="{FF2B5EF4-FFF2-40B4-BE49-F238E27FC236}">
                <a16:creationId xmlns:a16="http://schemas.microsoft.com/office/drawing/2014/main" id="{836474A4-412E-2D1D-1CA0-8ED3881ED400}"/>
              </a:ext>
            </a:extLst>
          </p:cNvPr>
          <p:cNvGrpSpPr/>
          <p:nvPr/>
        </p:nvGrpSpPr>
        <p:grpSpPr>
          <a:xfrm>
            <a:off x="11421554" y="-374"/>
            <a:ext cx="770446" cy="770488"/>
            <a:chOff x="12388850" y="6718300"/>
            <a:chExt cx="1143000" cy="1143000"/>
          </a:xfrm>
        </p:grpSpPr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295C8C1D-A6F1-1F06-7B54-C6A2D6CC38FE}"/>
                </a:ext>
              </a:extLst>
            </p:cNvPr>
            <p:cNvSpPr/>
            <p:nvPr/>
          </p:nvSpPr>
          <p:spPr>
            <a:xfrm>
              <a:off x="12388850" y="6718300"/>
              <a:ext cx="1143000" cy="1143000"/>
            </a:xfrm>
            <a:custGeom>
              <a:avLst/>
              <a:gdLst>
                <a:gd name="connsiteX0" fmla="*/ 0 w 1143000"/>
                <a:gd name="connsiteY0" fmla="*/ 0 h 1143000"/>
                <a:gd name="connsiteX1" fmla="*/ 1143000 w 1143000"/>
                <a:gd name="connsiteY1" fmla="*/ 0 h 1143000"/>
                <a:gd name="connsiteX2" fmla="*/ 1143000 w 1143000"/>
                <a:gd name="connsiteY2" fmla="*/ 1143000 h 1143000"/>
                <a:gd name="connsiteX3" fmla="*/ 571500 w 1143000"/>
                <a:gd name="connsiteY3" fmla="*/ 1143000 h 1143000"/>
                <a:gd name="connsiteX4" fmla="*/ 571500 w 1143000"/>
                <a:gd name="connsiteY4" fmla="*/ 571500 h 1143000"/>
                <a:gd name="connsiteX5" fmla="*/ 0 w 1143000"/>
                <a:gd name="connsiteY5" fmla="*/ 57150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000" h="1143000">
                  <a:moveTo>
                    <a:pt x="0" y="0"/>
                  </a:moveTo>
                  <a:lnTo>
                    <a:pt x="1143000" y="0"/>
                  </a:lnTo>
                  <a:lnTo>
                    <a:pt x="1143000" y="1143000"/>
                  </a:lnTo>
                  <a:lnTo>
                    <a:pt x="571500" y="1143000"/>
                  </a:lnTo>
                  <a:lnTo>
                    <a:pt x="57150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53690BBA-5869-3DBB-4AE0-B2D98B1BABB8}"/>
                </a:ext>
              </a:extLst>
            </p:cNvPr>
            <p:cNvSpPr/>
            <p:nvPr/>
          </p:nvSpPr>
          <p:spPr>
            <a:xfrm>
              <a:off x="13150468" y="6805453"/>
              <a:ext cx="294036" cy="265366"/>
            </a:xfrm>
            <a:custGeom>
              <a:avLst/>
              <a:gdLst>
                <a:gd name="connsiteX0" fmla="*/ 0 w 294036"/>
                <a:gd name="connsiteY0" fmla="*/ 0 h 265366"/>
                <a:gd name="connsiteX1" fmla="*/ 0 w 294036"/>
                <a:gd name="connsiteY1" fmla="*/ 53340 h 265366"/>
                <a:gd name="connsiteX2" fmla="*/ 114871 w 294036"/>
                <a:gd name="connsiteY2" fmla="*/ 53340 h 265366"/>
                <a:gd name="connsiteX3" fmla="*/ 114871 w 294036"/>
                <a:gd name="connsiteY3" fmla="*/ 261938 h 265366"/>
                <a:gd name="connsiteX4" fmla="*/ 114871 w 294036"/>
                <a:gd name="connsiteY4" fmla="*/ 265367 h 265366"/>
                <a:gd name="connsiteX5" fmla="*/ 179165 w 294036"/>
                <a:gd name="connsiteY5" fmla="*/ 265367 h 265366"/>
                <a:gd name="connsiteX6" fmla="*/ 179165 w 294036"/>
                <a:gd name="connsiteY6" fmla="*/ 53340 h 265366"/>
                <a:gd name="connsiteX7" fmla="*/ 294037 w 294036"/>
                <a:gd name="connsiteY7" fmla="*/ 53340 h 265366"/>
                <a:gd name="connsiteX8" fmla="*/ 294037 w 294036"/>
                <a:gd name="connsiteY8" fmla="*/ 0 h 26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036" h="265366">
                  <a:moveTo>
                    <a:pt x="0" y="0"/>
                  </a:moveTo>
                  <a:lnTo>
                    <a:pt x="0" y="53340"/>
                  </a:lnTo>
                  <a:lnTo>
                    <a:pt x="114871" y="53340"/>
                  </a:lnTo>
                  <a:lnTo>
                    <a:pt x="114871" y="261938"/>
                  </a:lnTo>
                  <a:lnTo>
                    <a:pt x="114871" y="265367"/>
                  </a:lnTo>
                  <a:lnTo>
                    <a:pt x="179165" y="265367"/>
                  </a:lnTo>
                  <a:lnTo>
                    <a:pt x="179165" y="53340"/>
                  </a:lnTo>
                  <a:lnTo>
                    <a:pt x="294037" y="53340"/>
                  </a:lnTo>
                  <a:lnTo>
                    <a:pt x="294037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DC51545-FADD-8B22-BE63-4252EE549BB7}"/>
                </a:ext>
              </a:extLst>
            </p:cNvPr>
            <p:cNvSpPr/>
            <p:nvPr/>
          </p:nvSpPr>
          <p:spPr>
            <a:xfrm>
              <a:off x="12476956" y="6806215"/>
              <a:ext cx="351567" cy="263747"/>
            </a:xfrm>
            <a:custGeom>
              <a:avLst/>
              <a:gdLst>
                <a:gd name="connsiteX0" fmla="*/ 259747 w 351567"/>
                <a:gd name="connsiteY0" fmla="*/ 0 h 263747"/>
                <a:gd name="connsiteX1" fmla="*/ 175736 w 351567"/>
                <a:gd name="connsiteY1" fmla="*/ 174498 h 263747"/>
                <a:gd name="connsiteX2" fmla="*/ 91726 w 351567"/>
                <a:gd name="connsiteY2" fmla="*/ 0 h 263747"/>
                <a:gd name="connsiteX3" fmla="*/ 0 w 351567"/>
                <a:gd name="connsiteY3" fmla="*/ 0 h 263747"/>
                <a:gd name="connsiteX4" fmla="*/ 0 w 351567"/>
                <a:gd name="connsiteY4" fmla="*/ 263747 h 263747"/>
                <a:gd name="connsiteX5" fmla="*/ 64294 w 351567"/>
                <a:gd name="connsiteY5" fmla="*/ 263747 h 263747"/>
                <a:gd name="connsiteX6" fmla="*/ 64294 w 351567"/>
                <a:gd name="connsiteY6" fmla="*/ 74962 h 263747"/>
                <a:gd name="connsiteX7" fmla="*/ 146399 w 351567"/>
                <a:gd name="connsiteY7" fmla="*/ 234505 h 263747"/>
                <a:gd name="connsiteX8" fmla="*/ 205073 w 351567"/>
                <a:gd name="connsiteY8" fmla="*/ 234505 h 263747"/>
                <a:gd name="connsiteX9" fmla="*/ 287179 w 351567"/>
                <a:gd name="connsiteY9" fmla="*/ 74962 h 263747"/>
                <a:gd name="connsiteX10" fmla="*/ 287179 w 351567"/>
                <a:gd name="connsiteY10" fmla="*/ 263747 h 263747"/>
                <a:gd name="connsiteX11" fmla="*/ 351568 w 351567"/>
                <a:gd name="connsiteY11" fmla="*/ 263747 h 263747"/>
                <a:gd name="connsiteX12" fmla="*/ 351568 w 351567"/>
                <a:gd name="connsiteY12" fmla="*/ 0 h 26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1567" h="263747">
                  <a:moveTo>
                    <a:pt x="259747" y="0"/>
                  </a:moveTo>
                  <a:lnTo>
                    <a:pt x="175736" y="174498"/>
                  </a:lnTo>
                  <a:lnTo>
                    <a:pt x="91726" y="0"/>
                  </a:lnTo>
                  <a:lnTo>
                    <a:pt x="0" y="0"/>
                  </a:lnTo>
                  <a:lnTo>
                    <a:pt x="0" y="263747"/>
                  </a:lnTo>
                  <a:lnTo>
                    <a:pt x="64294" y="263747"/>
                  </a:lnTo>
                  <a:lnTo>
                    <a:pt x="64294" y="74962"/>
                  </a:lnTo>
                  <a:lnTo>
                    <a:pt x="146399" y="234505"/>
                  </a:lnTo>
                  <a:lnTo>
                    <a:pt x="205073" y="234505"/>
                  </a:lnTo>
                  <a:lnTo>
                    <a:pt x="287179" y="74962"/>
                  </a:lnTo>
                  <a:lnTo>
                    <a:pt x="287179" y="263747"/>
                  </a:lnTo>
                  <a:lnTo>
                    <a:pt x="351568" y="263747"/>
                  </a:lnTo>
                  <a:lnTo>
                    <a:pt x="351568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CDB98746-6E4C-9A18-C044-034A7A748037}"/>
                </a:ext>
              </a:extLst>
            </p:cNvPr>
            <p:cNvSpPr/>
            <p:nvPr/>
          </p:nvSpPr>
          <p:spPr>
            <a:xfrm>
              <a:off x="13150468" y="7503872"/>
              <a:ext cx="293751" cy="275085"/>
            </a:xfrm>
            <a:custGeom>
              <a:avLst/>
              <a:gdLst>
                <a:gd name="connsiteX0" fmla="*/ 229457 w 293751"/>
                <a:gd name="connsiteY0" fmla="*/ 181596 h 275085"/>
                <a:gd name="connsiteX1" fmla="*/ 216884 w 293751"/>
                <a:gd name="connsiteY1" fmla="*/ 207314 h 275085"/>
                <a:gd name="connsiteX2" fmla="*/ 191167 w 293751"/>
                <a:gd name="connsiteY2" fmla="*/ 220268 h 275085"/>
                <a:gd name="connsiteX3" fmla="*/ 148590 w 293751"/>
                <a:gd name="connsiteY3" fmla="*/ 224173 h 275085"/>
                <a:gd name="connsiteX4" fmla="*/ 103727 w 293751"/>
                <a:gd name="connsiteY4" fmla="*/ 217601 h 275085"/>
                <a:gd name="connsiteX5" fmla="*/ 74581 w 293751"/>
                <a:gd name="connsiteY5" fmla="*/ 195693 h 275085"/>
                <a:gd name="connsiteX6" fmla="*/ 64103 w 293751"/>
                <a:gd name="connsiteY6" fmla="*/ 151307 h 275085"/>
                <a:gd name="connsiteX7" fmla="*/ 64103 w 293751"/>
                <a:gd name="connsiteY7" fmla="*/ 124256 h 275085"/>
                <a:gd name="connsiteX8" fmla="*/ 74581 w 293751"/>
                <a:gd name="connsiteY8" fmla="*/ 79679 h 275085"/>
                <a:gd name="connsiteX9" fmla="*/ 103632 w 293751"/>
                <a:gd name="connsiteY9" fmla="*/ 57771 h 275085"/>
                <a:gd name="connsiteX10" fmla="*/ 148495 w 293751"/>
                <a:gd name="connsiteY10" fmla="*/ 51199 h 275085"/>
                <a:gd name="connsiteX11" fmla="*/ 191071 w 293751"/>
                <a:gd name="connsiteY11" fmla="*/ 55009 h 275085"/>
                <a:gd name="connsiteX12" fmla="*/ 216789 w 293751"/>
                <a:gd name="connsiteY12" fmla="*/ 67963 h 275085"/>
                <a:gd name="connsiteX13" fmla="*/ 229362 w 293751"/>
                <a:gd name="connsiteY13" fmla="*/ 93680 h 275085"/>
                <a:gd name="connsiteX14" fmla="*/ 293751 w 293751"/>
                <a:gd name="connsiteY14" fmla="*/ 93680 h 275085"/>
                <a:gd name="connsiteX15" fmla="*/ 271748 w 293751"/>
                <a:gd name="connsiteY15" fmla="*/ 38531 h 275085"/>
                <a:gd name="connsiteX16" fmla="*/ 223361 w 293751"/>
                <a:gd name="connsiteY16" fmla="*/ 9003 h 275085"/>
                <a:gd name="connsiteX17" fmla="*/ 148590 w 293751"/>
                <a:gd name="connsiteY17" fmla="*/ 50 h 275085"/>
                <a:gd name="connsiteX18" fmla="*/ 69152 w 293751"/>
                <a:gd name="connsiteY18" fmla="*/ 13194 h 275085"/>
                <a:gd name="connsiteX19" fmla="*/ 17717 w 293751"/>
                <a:gd name="connsiteY19" fmla="*/ 57200 h 275085"/>
                <a:gd name="connsiteX20" fmla="*/ 0 w 293751"/>
                <a:gd name="connsiteY20" fmla="*/ 134543 h 275085"/>
                <a:gd name="connsiteX21" fmla="*/ 0 w 293751"/>
                <a:gd name="connsiteY21" fmla="*/ 137495 h 275085"/>
                <a:gd name="connsiteX22" fmla="*/ 3429 w 293751"/>
                <a:gd name="connsiteY22" fmla="*/ 137591 h 275085"/>
                <a:gd name="connsiteX23" fmla="*/ 0 w 293751"/>
                <a:gd name="connsiteY23" fmla="*/ 137591 h 275085"/>
                <a:gd name="connsiteX24" fmla="*/ 0 w 293751"/>
                <a:gd name="connsiteY24" fmla="*/ 140543 h 275085"/>
                <a:gd name="connsiteX25" fmla="*/ 17717 w 293751"/>
                <a:gd name="connsiteY25" fmla="*/ 217886 h 275085"/>
                <a:gd name="connsiteX26" fmla="*/ 69152 w 293751"/>
                <a:gd name="connsiteY26" fmla="*/ 261892 h 275085"/>
                <a:gd name="connsiteX27" fmla="*/ 148590 w 293751"/>
                <a:gd name="connsiteY27" fmla="*/ 275036 h 275085"/>
                <a:gd name="connsiteX28" fmla="*/ 223361 w 293751"/>
                <a:gd name="connsiteY28" fmla="*/ 266083 h 275085"/>
                <a:gd name="connsiteX29" fmla="*/ 271748 w 293751"/>
                <a:gd name="connsiteY29" fmla="*/ 236555 h 275085"/>
                <a:gd name="connsiteX30" fmla="*/ 293751 w 293751"/>
                <a:gd name="connsiteY30" fmla="*/ 181406 h 275085"/>
                <a:gd name="connsiteX31" fmla="*/ 229457 w 293751"/>
                <a:gd name="connsiteY31" fmla="*/ 181596 h 27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93751" h="275085">
                  <a:moveTo>
                    <a:pt x="229457" y="181596"/>
                  </a:moveTo>
                  <a:cubicBezTo>
                    <a:pt x="228219" y="191312"/>
                    <a:pt x="223838" y="200360"/>
                    <a:pt x="216884" y="207314"/>
                  </a:cubicBezTo>
                  <a:cubicBezTo>
                    <a:pt x="209645" y="213886"/>
                    <a:pt x="200787" y="218363"/>
                    <a:pt x="191167" y="220268"/>
                  </a:cubicBezTo>
                  <a:cubicBezTo>
                    <a:pt x="177165" y="223030"/>
                    <a:pt x="162877" y="224363"/>
                    <a:pt x="148590" y="224173"/>
                  </a:cubicBezTo>
                  <a:cubicBezTo>
                    <a:pt x="133350" y="224459"/>
                    <a:pt x="118205" y="222268"/>
                    <a:pt x="103727" y="217601"/>
                  </a:cubicBezTo>
                  <a:cubicBezTo>
                    <a:pt x="91821" y="213695"/>
                    <a:pt x="81629" y="205980"/>
                    <a:pt x="74581" y="195693"/>
                  </a:cubicBezTo>
                  <a:cubicBezTo>
                    <a:pt x="67532" y="185311"/>
                    <a:pt x="64103" y="170357"/>
                    <a:pt x="64103" y="151307"/>
                  </a:cubicBezTo>
                  <a:lnTo>
                    <a:pt x="64103" y="124256"/>
                  </a:lnTo>
                  <a:cubicBezTo>
                    <a:pt x="64103" y="105015"/>
                    <a:pt x="67627" y="90061"/>
                    <a:pt x="74581" y="79679"/>
                  </a:cubicBezTo>
                  <a:cubicBezTo>
                    <a:pt x="81534" y="69296"/>
                    <a:pt x="91726" y="61581"/>
                    <a:pt x="103632" y="57771"/>
                  </a:cubicBezTo>
                  <a:cubicBezTo>
                    <a:pt x="118110" y="53104"/>
                    <a:pt x="133255" y="50913"/>
                    <a:pt x="148495" y="51199"/>
                  </a:cubicBezTo>
                  <a:cubicBezTo>
                    <a:pt x="162782" y="51008"/>
                    <a:pt x="177070" y="52247"/>
                    <a:pt x="191071" y="55009"/>
                  </a:cubicBezTo>
                  <a:cubicBezTo>
                    <a:pt x="200692" y="56914"/>
                    <a:pt x="209550" y="61391"/>
                    <a:pt x="216789" y="67963"/>
                  </a:cubicBezTo>
                  <a:cubicBezTo>
                    <a:pt x="223742" y="74916"/>
                    <a:pt x="228219" y="83965"/>
                    <a:pt x="229362" y="93680"/>
                  </a:cubicBezTo>
                  <a:lnTo>
                    <a:pt x="293751" y="93680"/>
                  </a:lnTo>
                  <a:cubicBezTo>
                    <a:pt x="292608" y="73392"/>
                    <a:pt x="284893" y="54056"/>
                    <a:pt x="271748" y="38531"/>
                  </a:cubicBezTo>
                  <a:cubicBezTo>
                    <a:pt x="258794" y="24243"/>
                    <a:pt x="242030" y="14051"/>
                    <a:pt x="223361" y="9003"/>
                  </a:cubicBezTo>
                  <a:cubicBezTo>
                    <a:pt x="198977" y="2526"/>
                    <a:pt x="173736" y="-427"/>
                    <a:pt x="148590" y="50"/>
                  </a:cubicBezTo>
                  <a:cubicBezTo>
                    <a:pt x="117729" y="50"/>
                    <a:pt x="90964" y="4526"/>
                    <a:pt x="69152" y="13194"/>
                  </a:cubicBezTo>
                  <a:cubicBezTo>
                    <a:pt x="47435" y="21576"/>
                    <a:pt x="29337" y="37102"/>
                    <a:pt x="17717" y="57200"/>
                  </a:cubicBezTo>
                  <a:cubicBezTo>
                    <a:pt x="6382" y="76631"/>
                    <a:pt x="381" y="102634"/>
                    <a:pt x="0" y="134543"/>
                  </a:cubicBezTo>
                  <a:lnTo>
                    <a:pt x="0" y="137495"/>
                  </a:lnTo>
                  <a:lnTo>
                    <a:pt x="3429" y="137591"/>
                  </a:lnTo>
                  <a:lnTo>
                    <a:pt x="0" y="137591"/>
                  </a:lnTo>
                  <a:lnTo>
                    <a:pt x="0" y="140543"/>
                  </a:lnTo>
                  <a:cubicBezTo>
                    <a:pt x="381" y="172452"/>
                    <a:pt x="6382" y="198360"/>
                    <a:pt x="17717" y="217886"/>
                  </a:cubicBezTo>
                  <a:cubicBezTo>
                    <a:pt x="29337" y="237984"/>
                    <a:pt x="47435" y="253510"/>
                    <a:pt x="69152" y="261892"/>
                  </a:cubicBezTo>
                  <a:cubicBezTo>
                    <a:pt x="91059" y="270655"/>
                    <a:pt x="117824" y="275036"/>
                    <a:pt x="148590" y="275036"/>
                  </a:cubicBezTo>
                  <a:cubicBezTo>
                    <a:pt x="173831" y="275513"/>
                    <a:pt x="198977" y="272560"/>
                    <a:pt x="223361" y="266083"/>
                  </a:cubicBezTo>
                  <a:cubicBezTo>
                    <a:pt x="241935" y="261130"/>
                    <a:pt x="258794" y="250843"/>
                    <a:pt x="271748" y="236555"/>
                  </a:cubicBezTo>
                  <a:cubicBezTo>
                    <a:pt x="284893" y="221030"/>
                    <a:pt x="292608" y="201694"/>
                    <a:pt x="293751" y="181406"/>
                  </a:cubicBezTo>
                  <a:lnTo>
                    <a:pt x="229457" y="1815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DF41D888-CDEE-A471-93D8-65E040695A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5920700"/>
              <a:gd name="connsiteY0" fmla="*/ 0 h 14579600"/>
              <a:gd name="connsiteX1" fmla="*/ 24282700 w 25920700"/>
              <a:gd name="connsiteY1" fmla="*/ 0 h 14579600"/>
              <a:gd name="connsiteX2" fmla="*/ 24282700 w 25920700"/>
              <a:gd name="connsiteY2" fmla="*/ 816407 h 14579600"/>
              <a:gd name="connsiteX3" fmla="*/ 25103500 w 25920700"/>
              <a:gd name="connsiteY3" fmla="*/ 816407 h 14579600"/>
              <a:gd name="connsiteX4" fmla="*/ 25103500 w 25920700"/>
              <a:gd name="connsiteY4" fmla="*/ 1637206 h 14579600"/>
              <a:gd name="connsiteX5" fmla="*/ 25920700 w 25920700"/>
              <a:gd name="connsiteY5" fmla="*/ 1637206 h 14579600"/>
              <a:gd name="connsiteX6" fmla="*/ 25920700 w 25920700"/>
              <a:gd name="connsiteY6" fmla="*/ 14579600 h 14579600"/>
              <a:gd name="connsiteX7" fmla="*/ 6659564 w 25920700"/>
              <a:gd name="connsiteY7" fmla="*/ 14579600 h 14579600"/>
              <a:gd name="connsiteX8" fmla="*/ 6659564 w 25920700"/>
              <a:gd name="connsiteY8" fmla="*/ 7920038 h 14579600"/>
              <a:gd name="connsiteX9" fmla="*/ 0 w 25920700"/>
              <a:gd name="connsiteY9" fmla="*/ 7920038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920700" h="14579600">
                <a:moveTo>
                  <a:pt x="0" y="0"/>
                </a:moveTo>
                <a:lnTo>
                  <a:pt x="24282700" y="0"/>
                </a:lnTo>
                <a:lnTo>
                  <a:pt x="24282700" y="816407"/>
                </a:lnTo>
                <a:lnTo>
                  <a:pt x="25103500" y="816407"/>
                </a:lnTo>
                <a:lnTo>
                  <a:pt x="25103500" y="1637206"/>
                </a:lnTo>
                <a:lnTo>
                  <a:pt x="25920700" y="1637206"/>
                </a:lnTo>
                <a:lnTo>
                  <a:pt x="25920700" y="14579600"/>
                </a:lnTo>
                <a:lnTo>
                  <a:pt x="6659564" y="14579600"/>
                </a:lnTo>
                <a:lnTo>
                  <a:pt x="6659564" y="7920038"/>
                </a:lnTo>
                <a:lnTo>
                  <a:pt x="0" y="792003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BFF8568-4BEB-4CA2-34AF-08726490A300}"/>
              </a:ext>
            </a:extLst>
          </p:cNvPr>
          <p:cNvSpPr/>
          <p:nvPr/>
        </p:nvSpPr>
        <p:spPr>
          <a:xfrm>
            <a:off x="0" y="3725247"/>
            <a:ext cx="3132582" cy="31327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1E605C-50C5-1E16-FB97-486E1CBBCA6A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00B61A1-B320-9C76-23BF-0D5EE402F5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83988" y="148976"/>
            <a:ext cx="578386" cy="181885"/>
          </a:xfrm>
          <a:prstGeom prst="rect">
            <a:avLst/>
          </a:prstGeom>
        </p:spPr>
        <p:txBody>
          <a:bodyPr lIns="0" tIns="0" rIns="0" bIns="0"/>
          <a:lstStyle>
            <a:lvl1pPr>
              <a:defRPr sz="988" b="0" i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fld id="{1B200421-228B-BD43-9045-8FEDD241C1B1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10DAF752-2844-AB5E-AB61-F0948E213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74A56A45-D536-C853-895E-BE401DCF4EB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27" name="Picture Placeholder 25">
            <a:extLst>
              <a:ext uri="{FF2B5EF4-FFF2-40B4-BE49-F238E27FC236}">
                <a16:creationId xmlns:a16="http://schemas.microsoft.com/office/drawing/2014/main" id="{F57A500F-AA16-4C97-A16D-2B4239A3A70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B2FAF9E9-AF4C-E10E-795F-64809B3D14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0407" y="3926048"/>
            <a:ext cx="2697374" cy="23413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ини-описание того, </a:t>
            </a:r>
            <a:br>
              <a:rPr lang="ru-RU" dirty="0"/>
            </a:br>
            <a:r>
              <a:rPr lang="ru-RU" dirty="0"/>
              <a:t>что это за фото, и зачем </a:t>
            </a:r>
            <a:br>
              <a:rPr lang="ru-RU" dirty="0"/>
            </a:br>
            <a:r>
              <a:rPr lang="ru-RU" dirty="0"/>
              <a:t>мы его показываем.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996545128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470327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BBD793A-3663-0F2A-26FB-27469725DD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54030" y="622034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063C171-DFB8-F5E9-1E78-F0CE0C5F31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54030" y="648621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DF7F9AA8-0D7E-C2B6-3B75-A4ECE8BD5C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54030" y="1858132"/>
            <a:ext cx="3534844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9D971856-E64C-B555-4520-156CB2AAA73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54030" y="2191048"/>
            <a:ext cx="353484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E48FCEE6-B7F0-D08B-C0CA-13C7893CB5B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881660" y="1858132"/>
            <a:ext cx="353154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B0FC424-5508-1639-8F8B-C107584B173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881659" y="2191048"/>
            <a:ext cx="353484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88F2B318-7400-08F6-81B4-AB4D2772224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154030" y="3764991"/>
            <a:ext cx="3534844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84D8E917-4CA1-E3BA-BFB6-87F7991C442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154030" y="4097906"/>
            <a:ext cx="353484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E77A29A-7B9C-A03B-6C4D-305AD1E653E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881660" y="3764991"/>
            <a:ext cx="353154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D048CEA6-4770-65A8-D077-4561AC0C7BF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881659" y="4097906"/>
            <a:ext cx="353484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AF66CA-7AF6-D361-BD63-20254E5B8FF3}"/>
              </a:ext>
            </a:extLst>
          </p:cNvPr>
          <p:cNvCxnSpPr>
            <a:cxnSpLocks/>
          </p:cNvCxnSpPr>
          <p:nvPr/>
        </p:nvCxnSpPr>
        <p:spPr>
          <a:xfrm>
            <a:off x="3132376" y="1518827"/>
            <a:ext cx="3556498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BCD7E5D-4EE0-1CD0-8D50-F49B82A6C567}"/>
              </a:ext>
            </a:extLst>
          </p:cNvPr>
          <p:cNvCxnSpPr>
            <a:cxnSpLocks/>
          </p:cNvCxnSpPr>
          <p:nvPr/>
        </p:nvCxnSpPr>
        <p:spPr>
          <a:xfrm>
            <a:off x="3132376" y="3425686"/>
            <a:ext cx="3556497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E0EE1AE-8B03-1374-4FA5-FF7C4E8537FC}"/>
              </a:ext>
            </a:extLst>
          </p:cNvPr>
          <p:cNvCxnSpPr>
            <a:cxnSpLocks/>
          </p:cNvCxnSpPr>
          <p:nvPr/>
        </p:nvCxnSpPr>
        <p:spPr>
          <a:xfrm>
            <a:off x="7864614" y="1518827"/>
            <a:ext cx="3548586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1CD780F-C9CF-19FC-C7CE-4E7388617345}"/>
              </a:ext>
            </a:extLst>
          </p:cNvPr>
          <p:cNvCxnSpPr>
            <a:cxnSpLocks/>
          </p:cNvCxnSpPr>
          <p:nvPr/>
        </p:nvCxnSpPr>
        <p:spPr>
          <a:xfrm>
            <a:off x="7864614" y="3425686"/>
            <a:ext cx="3557227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3F7568B-C5D8-F395-EF3D-8572CE9E3359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881659" y="622034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3E81D750-A060-A95E-B6A0-FB5CB476397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881659" y="648621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1590C96-7826-0DBC-FF74-B39C479BEDD8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709D09C-BD3B-CDA7-DC8E-D6E892AF619F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0EB0C9B1-776C-E9F1-D5F0-EFE675373E34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BE24EE5B-2766-309D-39A5-3DA7E5D7892C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C29BB802-EA29-4E55-57D8-5FEAB25ED6D7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447340319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88F2B318-7400-08F6-81B4-AB4D2772224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132376" y="3197371"/>
            <a:ext cx="3556498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84D8E917-4CA1-E3BA-BFB6-87F7991C442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132376" y="3530286"/>
            <a:ext cx="3556498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E77A29A-7B9C-A03B-6C4D-305AD1E653E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449046" y="3197371"/>
            <a:ext cx="3548698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D048CEA6-4770-65A8-D077-4561AC0C7BF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449576" y="3530286"/>
            <a:ext cx="3552018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11" name="Title 25">
            <a:extLst>
              <a:ext uri="{FF2B5EF4-FFF2-40B4-BE49-F238E27FC236}">
                <a16:creationId xmlns:a16="http://schemas.microsoft.com/office/drawing/2014/main" id="{0038BE16-32C8-C73F-609B-3463B18545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7667890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Немного важного текста, суммирующего общий смысл абзацев, либо факт, который впоследствии подробнее раскрыт в тексте.</a:t>
            </a:r>
            <a:endParaRPr lang="en-RU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4DDCA4F-1F6F-2DFC-1115-E04BEF2E6762}"/>
              </a:ext>
            </a:extLst>
          </p:cNvPr>
          <p:cNvCxnSpPr>
            <a:cxnSpLocks/>
          </p:cNvCxnSpPr>
          <p:nvPr/>
        </p:nvCxnSpPr>
        <p:spPr>
          <a:xfrm>
            <a:off x="1946628" y="2882917"/>
            <a:ext cx="4742245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1A1A959-E7F1-285A-D42E-EF2B8DE2289F}"/>
              </a:ext>
            </a:extLst>
          </p:cNvPr>
          <p:cNvCxnSpPr>
            <a:cxnSpLocks/>
          </p:cNvCxnSpPr>
          <p:nvPr/>
        </p:nvCxnSpPr>
        <p:spPr>
          <a:xfrm>
            <a:off x="7276735" y="2882917"/>
            <a:ext cx="4742245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EF06BDB-6FDE-31F3-A7FF-736E298E4111}"/>
              </a:ext>
            </a:extLst>
          </p:cNvPr>
          <p:cNvCxnSpPr>
            <a:cxnSpLocks/>
          </p:cNvCxnSpPr>
          <p:nvPr/>
        </p:nvCxnSpPr>
        <p:spPr>
          <a:xfrm>
            <a:off x="1946628" y="4849173"/>
            <a:ext cx="4742245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BAF30-60CD-0453-EAEB-975D9247240C}"/>
              </a:ext>
            </a:extLst>
          </p:cNvPr>
          <p:cNvCxnSpPr>
            <a:cxnSpLocks/>
          </p:cNvCxnSpPr>
          <p:nvPr/>
        </p:nvCxnSpPr>
        <p:spPr>
          <a:xfrm>
            <a:off x="7276735" y="4849173"/>
            <a:ext cx="4742245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2A837B0-38A2-7A68-4034-A034B61B398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132376" y="5194349"/>
            <a:ext cx="3556498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00AE112-BF5C-0BE5-EC05-57C7DD327CC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132376" y="5527265"/>
            <a:ext cx="3556498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96260709-6188-24AB-645A-51DD2629831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449046" y="5194349"/>
            <a:ext cx="3548698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921C3A26-46AD-54B6-BCAE-70B08E26B54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449576" y="5527265"/>
            <a:ext cx="3552018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BD7697F4-F423-C5E9-8096-7CFC4FEE55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407" y="5224111"/>
            <a:ext cx="1180521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E08AB708-A62E-0C35-77F7-1D9EC9E3870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407" y="5584987"/>
            <a:ext cx="1180521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32" name="Picture Placeholder 10">
            <a:extLst>
              <a:ext uri="{FF2B5EF4-FFF2-40B4-BE49-F238E27FC236}">
                <a16:creationId xmlns:a16="http://schemas.microsoft.com/office/drawing/2014/main" id="{D833F92C-F321-54ED-2E08-2FE9D600F78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163525" y="3197371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33" name="Picture Placeholder 10">
            <a:extLst>
              <a:ext uri="{FF2B5EF4-FFF2-40B4-BE49-F238E27FC236}">
                <a16:creationId xmlns:a16="http://schemas.microsoft.com/office/drawing/2014/main" id="{53C7A42F-C5F2-2BB2-553A-F2C6626F514C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486249" y="3197371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39" name="Picture Placeholder 10">
            <a:extLst>
              <a:ext uri="{FF2B5EF4-FFF2-40B4-BE49-F238E27FC236}">
                <a16:creationId xmlns:a16="http://schemas.microsoft.com/office/drawing/2014/main" id="{CFC7593D-0D62-62EC-1533-7119B1B06AF2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2163525" y="5194349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43" name="Picture Placeholder 10">
            <a:extLst>
              <a:ext uri="{FF2B5EF4-FFF2-40B4-BE49-F238E27FC236}">
                <a16:creationId xmlns:a16="http://schemas.microsoft.com/office/drawing/2014/main" id="{6B41A319-6D7C-2F62-5DE8-BCD91083A17E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7486249" y="5194349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45C1CF7-72CF-14E9-7B07-C0C0031E644A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9D559EC-4D8E-E1BD-350C-36EB5E87084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FAA9B246-702A-9028-BC28-6C3B0099FB9F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DA1A71AA-B5B8-A4F7-DAEB-6ABDB6222B97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18AE0F4F-B276-F186-0F43-DB9CC33D1322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58293063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с иконками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BD7697F4-F423-C5E9-8096-7CFC4FEE55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407" y="3240233"/>
            <a:ext cx="1180521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E08AB708-A62E-0C35-77F7-1D9EC9E3870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407" y="3601109"/>
            <a:ext cx="1180521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C9165F17-785F-56EC-DC93-01B4A6ABD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F9085B70-DCB6-9BEA-18C0-BB630CD8DF5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7" y="3186756"/>
            <a:ext cx="2963623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tabLst/>
              <a:defRPr lang="en-GB" sz="2352" b="0" i="0" cap="none" spc="71" baseline="0" smtClean="0">
                <a:latin typeface="MTS Text Medium" panose="020B0306020102020303" pitchFamily="34" charset="0"/>
                <a:ea typeface="MTS Text Medium" panose="020B0306020102020303" pitchFamily="34" charset="0"/>
                <a:cs typeface="Arial Black" charset="0"/>
              </a:defRPr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RU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err="1"/>
              <a:t>С</a:t>
            </a:r>
            <a:r>
              <a:rPr lang="ru-RU" dirty="0" err="1"/>
              <a:t>четчик</a:t>
            </a:r>
            <a:r>
              <a:rPr lang="ru-RU" dirty="0"/>
              <a:t>, вставленный на сайт X</a:t>
            </a:r>
            <a:r>
              <a:rPr lang="en-US" dirty="0"/>
              <a:t>XX</a:t>
            </a:r>
            <a:endParaRPr lang="en-RU" dirty="0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9BE030B9-CB0C-77FB-EF71-301ABCC839F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132377" y="5091566"/>
            <a:ext cx="2963623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tabLst/>
              <a:defRPr lang="en-GB" sz="2352" b="0" i="0" cap="none" spc="71" baseline="0" smtClean="0">
                <a:latin typeface="MTS Text Medium" panose="020B0306020102020303" pitchFamily="34" charset="0"/>
                <a:ea typeface="MTS Text Medium" panose="020B0306020102020303" pitchFamily="34" charset="0"/>
                <a:cs typeface="Arial Black" charset="0"/>
              </a:defRPr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RU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err="1"/>
              <a:t>С</a:t>
            </a:r>
            <a:r>
              <a:rPr lang="ru-RU" dirty="0" err="1"/>
              <a:t>четчик</a:t>
            </a:r>
            <a:r>
              <a:rPr lang="ru-RU" dirty="0"/>
              <a:t>, вставленный на сайт X</a:t>
            </a:r>
            <a:r>
              <a:rPr lang="en-US" dirty="0"/>
              <a:t>XX</a:t>
            </a:r>
            <a:endParaRPr lang="en-RU" dirty="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66BF3B58-A0E6-A05D-5E18-B0BA9A516BF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598721" y="3197371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30" name="Picture Placeholder 10">
            <a:extLst>
              <a:ext uri="{FF2B5EF4-FFF2-40B4-BE49-F238E27FC236}">
                <a16:creationId xmlns:a16="http://schemas.microsoft.com/office/drawing/2014/main" id="{F50C4DE8-75DE-C9FB-49AB-665667414938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598721" y="5071459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FCFB28FA-7AFE-86B7-16FC-13C54D00AE0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863422" y="3186756"/>
            <a:ext cx="2957650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tabLst/>
              <a:defRPr lang="en-GB" sz="2352" b="0" i="0" cap="none" spc="71" baseline="0" smtClean="0">
                <a:latin typeface="MTS Text Medium" panose="020B0306020102020303" pitchFamily="34" charset="0"/>
                <a:ea typeface="MTS Text Medium" panose="020B0306020102020303" pitchFamily="34" charset="0"/>
                <a:cs typeface="Arial Black" charset="0"/>
              </a:defRPr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RU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err="1"/>
              <a:t>С</a:t>
            </a:r>
            <a:r>
              <a:rPr lang="ru-RU" dirty="0" err="1"/>
              <a:t>четчик</a:t>
            </a:r>
            <a:r>
              <a:rPr lang="ru-RU" dirty="0"/>
              <a:t>, вставленный на сайт X</a:t>
            </a:r>
            <a:r>
              <a:rPr lang="en-US" dirty="0"/>
              <a:t>XX</a:t>
            </a:r>
            <a:endParaRPr lang="en-RU" dirty="0"/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672F4833-4617-9895-3870-B71FA41469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863422" y="5091566"/>
            <a:ext cx="2957650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tabLst/>
              <a:defRPr lang="en-GB" sz="2352" b="0" i="0" cap="none" spc="71" baseline="0" smtClean="0">
                <a:latin typeface="MTS Text Medium" panose="020B0306020102020303" pitchFamily="34" charset="0"/>
                <a:ea typeface="MTS Text Medium" panose="020B0306020102020303" pitchFamily="34" charset="0"/>
                <a:cs typeface="Arial Black" charset="0"/>
              </a:defRPr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RU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err="1"/>
              <a:t>С</a:t>
            </a:r>
            <a:r>
              <a:rPr lang="ru-RU" dirty="0" err="1"/>
              <a:t>четчик</a:t>
            </a:r>
            <a:r>
              <a:rPr lang="ru-RU" dirty="0"/>
              <a:t>, вставленный на сайт X</a:t>
            </a:r>
            <a:r>
              <a:rPr lang="en-US" dirty="0"/>
              <a:t>XX</a:t>
            </a:r>
            <a:endParaRPr lang="en-RU" dirty="0"/>
          </a:p>
        </p:txBody>
      </p:sp>
      <p:sp>
        <p:nvSpPr>
          <p:cNvPr id="40" name="Picture Placeholder 10">
            <a:extLst>
              <a:ext uri="{FF2B5EF4-FFF2-40B4-BE49-F238E27FC236}">
                <a16:creationId xmlns:a16="http://schemas.microsoft.com/office/drawing/2014/main" id="{1CC18AFE-2696-B264-340B-0B6044D686E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11337041" y="3197371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41" name="Picture Placeholder 10">
            <a:extLst>
              <a:ext uri="{FF2B5EF4-FFF2-40B4-BE49-F238E27FC236}">
                <a16:creationId xmlns:a16="http://schemas.microsoft.com/office/drawing/2014/main" id="{082D5ECB-36E4-8F94-8F12-53DDEDF20335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1337041" y="5071459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B1FE96B-762C-668F-AA65-A700C0AA5D1B}"/>
              </a:ext>
            </a:extLst>
          </p:cNvPr>
          <p:cNvCxnSpPr>
            <a:cxnSpLocks/>
          </p:cNvCxnSpPr>
          <p:nvPr/>
        </p:nvCxnSpPr>
        <p:spPr>
          <a:xfrm>
            <a:off x="3132377" y="2882917"/>
            <a:ext cx="4132198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AA2A2F1-D6CA-1D3A-D41E-E810301F4604}"/>
              </a:ext>
            </a:extLst>
          </p:cNvPr>
          <p:cNvCxnSpPr>
            <a:cxnSpLocks/>
          </p:cNvCxnSpPr>
          <p:nvPr/>
        </p:nvCxnSpPr>
        <p:spPr>
          <a:xfrm>
            <a:off x="3132377" y="4849173"/>
            <a:ext cx="4132198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3A6CEA1-742C-35C6-4E04-CE57160495BC}"/>
              </a:ext>
            </a:extLst>
          </p:cNvPr>
          <p:cNvCxnSpPr>
            <a:cxnSpLocks/>
          </p:cNvCxnSpPr>
          <p:nvPr/>
        </p:nvCxnSpPr>
        <p:spPr>
          <a:xfrm>
            <a:off x="7863422" y="2882917"/>
            <a:ext cx="4132198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572920E-B229-7406-567C-EF585BE0A6CF}"/>
              </a:ext>
            </a:extLst>
          </p:cNvPr>
          <p:cNvCxnSpPr>
            <a:cxnSpLocks/>
          </p:cNvCxnSpPr>
          <p:nvPr/>
        </p:nvCxnSpPr>
        <p:spPr>
          <a:xfrm>
            <a:off x="7863422" y="4849173"/>
            <a:ext cx="4132198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14">
            <a:extLst>
              <a:ext uri="{FF2B5EF4-FFF2-40B4-BE49-F238E27FC236}">
                <a16:creationId xmlns:a16="http://schemas.microsoft.com/office/drawing/2014/main" id="{7B664044-89A3-F03C-5739-FDD14376B2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35018" y="1854533"/>
            <a:ext cx="258605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83C4A85-119E-8A88-FC38-DEEFFCCA7462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FEB09C8-78B1-2987-B794-0DA15A73706F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DA6CC0CA-F394-7145-CBAD-D4BE61508763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0440A3B8-1218-7499-5732-858105BDAED0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C708B326-2FB0-01DA-8395-935557DCA838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467339956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на плашк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F3EA5239-C60D-7906-7219-F905258B85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7661" y="768408"/>
            <a:ext cx="5904789" cy="2660592"/>
          </a:xfrm>
          <a:prstGeom prst="rect">
            <a:avLst/>
          </a:prstGeom>
          <a:solidFill>
            <a:schemeClr val="accent3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solidFill>
                  <a:srgbClr val="2A2A2A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Статистика</a:t>
            </a:r>
            <a:endParaRPr lang="en-RU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679332A-152A-E7A1-A6B5-6D0E08C624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46628" y="1297784"/>
            <a:ext cx="8264396" cy="3774433"/>
          </a:xfrm>
          <a:prstGeom prst="rect">
            <a:avLst/>
          </a:prstGeom>
          <a:solidFill>
            <a:schemeClr val="accent1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solidFill>
                  <a:sysClr val="windowText" lastClr="000000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Рассылка</a:t>
            </a:r>
            <a:endParaRPr lang="en-RU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2D401DC-933A-9E21-4A02-29C7A44499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8801" y="1997132"/>
            <a:ext cx="10643040" cy="4860868"/>
          </a:xfrm>
          <a:prstGeom prst="rect">
            <a:avLst/>
          </a:prstGeom>
          <a:solidFill>
            <a:schemeClr val="accent2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solidFill>
                  <a:sysClr val="windowText" lastClr="000000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Аудитория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B993857D-BCD2-30DB-FB6D-5E6ED05BAA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4125" y="4208341"/>
            <a:ext cx="4522459" cy="2078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solidFill>
                  <a:sysClr val="windowText" lastClr="000000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42 </a:t>
            </a:r>
            <a:br>
              <a:rPr lang="ru-RU" dirty="0"/>
            </a:br>
            <a:r>
              <a:rPr lang="ru-RU" dirty="0"/>
              <a:t>МЛН</a:t>
            </a:r>
            <a:endParaRPr lang="en-RU" dirty="0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CB4174CE-88CE-9C4E-B0A1-F445A0ED35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08723" y="4208341"/>
            <a:ext cx="4712349" cy="2078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solidFill>
                  <a:sysClr val="windowText" lastClr="000000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115 </a:t>
            </a:r>
            <a:br>
              <a:rPr lang="ru-RU" dirty="0"/>
            </a:br>
            <a:r>
              <a:rPr lang="ru-RU" dirty="0"/>
              <a:t>МЛН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C38ED4B-E122-6151-EFF4-2E24C340AC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4125" y="6333295"/>
            <a:ext cx="4522459" cy="369469"/>
          </a:xfrm>
          <a:prstGeom prst="rect">
            <a:avLst/>
          </a:prstGeom>
        </p:spPr>
        <p:txBody>
          <a:bodyPr lIns="18000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никальных пользователей </a:t>
            </a:r>
            <a:br>
              <a:rPr lang="ru-RU" dirty="0"/>
            </a:br>
            <a:r>
              <a:rPr lang="ru-RU" dirty="0"/>
              <a:t>ежедневно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9DBFA0-FE2C-B77D-B514-766A022D3AF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6333295"/>
            <a:ext cx="4725072" cy="477911"/>
          </a:xfrm>
          <a:prstGeom prst="rect">
            <a:avLst/>
          </a:prstGeom>
        </p:spPr>
        <p:txBody>
          <a:bodyPr lIns="18000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никальных пользователей </a:t>
            </a:r>
            <a:br>
              <a:rPr lang="ru-RU" dirty="0"/>
            </a:br>
            <a:r>
              <a:rPr lang="ru-RU" dirty="0"/>
              <a:t>ежедневно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6F5453E-3F84-10FA-690E-1070AF66E35D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C792561-A106-9CFA-68F9-B58B1C27F2E4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221E8B72-776A-110A-704B-4567827E4D1A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211D526E-53D1-7E41-1FEF-53BEBF6CEDB1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38BC381-5D8E-2E79-D7AE-9D861E2FFE6B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114420227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на плашках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F3EA5239-C60D-7906-7219-F905258B85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7661" y="768408"/>
            <a:ext cx="5904789" cy="2660592"/>
          </a:xfrm>
          <a:prstGeom prst="rect">
            <a:avLst/>
          </a:prstGeom>
          <a:solidFill>
            <a:schemeClr val="accent4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Показатели</a:t>
            </a:r>
            <a:endParaRPr lang="en-RU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679332A-152A-E7A1-A6B5-6D0E08C624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46628" y="1297784"/>
            <a:ext cx="8264396" cy="3774433"/>
          </a:xfrm>
          <a:prstGeom prst="rect">
            <a:avLst/>
          </a:prstGeom>
          <a:solidFill>
            <a:schemeClr val="accent3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solidFill>
                  <a:srgbClr val="2A2A2A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Статистика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2D401DC-933A-9E21-4A02-29C7A44499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8801" y="1997132"/>
            <a:ext cx="10643040" cy="4860868"/>
          </a:xfrm>
          <a:prstGeom prst="rect">
            <a:avLst/>
          </a:prstGeom>
          <a:solidFill>
            <a:schemeClr val="accent1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solidFill>
                  <a:sysClr val="windowText" lastClr="000000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Рассылка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C38ED4B-E122-6151-EFF4-2E24C340AC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4124" y="3429000"/>
            <a:ext cx="9281248" cy="327376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3998" b="0" i="0" spc="0" baseline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Какой-нибудь небольшой, текст для перебивки внимания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29D4802-04EC-D72D-868A-71C36773DBA8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1F62E00-D3B0-96A5-1AF9-A61FFFA5C00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A31BF771-4817-A54D-02E7-D86B6E975624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0E386F0B-3A5D-E840-2D82-55D0FFE52AB1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2061AA2A-5DEA-C493-E771-C84F12FFEFE8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261163778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на плашках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F3EA5239-C60D-7906-7219-F905258B85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7661" y="768408"/>
            <a:ext cx="5904789" cy="2660592"/>
          </a:xfrm>
          <a:prstGeom prst="rect">
            <a:avLst/>
          </a:prstGeom>
          <a:solidFill>
            <a:schemeClr val="accent2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solidFill>
                  <a:sysClr val="windowText" lastClr="000000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Аудитория</a:t>
            </a:r>
            <a:endParaRPr lang="en-RU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679332A-152A-E7A1-A6B5-6D0E08C624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46628" y="1297784"/>
            <a:ext cx="8264396" cy="3774433"/>
          </a:xfrm>
          <a:prstGeom prst="rect">
            <a:avLst/>
          </a:prstGeom>
          <a:solidFill>
            <a:schemeClr val="accent4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Показатели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2D401DC-933A-9E21-4A02-29C7A44499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8801" y="1997132"/>
            <a:ext cx="10643040" cy="4860868"/>
          </a:xfrm>
          <a:prstGeom prst="rect">
            <a:avLst/>
          </a:prstGeom>
          <a:solidFill>
            <a:schemeClr val="accent3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solidFill>
                  <a:srgbClr val="2A2A2A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Статистика</a:t>
            </a:r>
            <a:endParaRPr lang="en-RU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B993857D-BCD2-30DB-FB6D-5E6ED05BAA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4125" y="4208341"/>
            <a:ext cx="4522459" cy="2078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solidFill>
                  <a:srgbClr val="2A2A2A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42 </a:t>
            </a:r>
            <a:br>
              <a:rPr lang="ru-RU" dirty="0"/>
            </a:br>
            <a:r>
              <a:rPr lang="ru-RU" dirty="0"/>
              <a:t>МЛН</a:t>
            </a:r>
            <a:endParaRPr lang="en-RU" dirty="0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CB4174CE-88CE-9C4E-B0A1-F445A0ED35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08723" y="4208341"/>
            <a:ext cx="4712349" cy="2078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solidFill>
                  <a:srgbClr val="2A2A2A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115 </a:t>
            </a:r>
            <a:br>
              <a:rPr lang="ru-RU" dirty="0"/>
            </a:br>
            <a:r>
              <a:rPr lang="ru-RU" dirty="0"/>
              <a:t>МЛН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C38ED4B-E122-6151-EFF4-2E24C340AC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4125" y="6333295"/>
            <a:ext cx="4522459" cy="369469"/>
          </a:xfrm>
          <a:prstGeom prst="rect">
            <a:avLst/>
          </a:prstGeom>
        </p:spPr>
        <p:txBody>
          <a:bodyPr lIns="18000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никальных пользователей </a:t>
            </a:r>
            <a:br>
              <a:rPr lang="ru-RU" dirty="0"/>
            </a:br>
            <a:r>
              <a:rPr lang="ru-RU" dirty="0"/>
              <a:t>ежедневно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9DBFA0-FE2C-B77D-B514-766A022D3AF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6333295"/>
            <a:ext cx="4725072" cy="477911"/>
          </a:xfrm>
          <a:prstGeom prst="rect">
            <a:avLst/>
          </a:prstGeom>
        </p:spPr>
        <p:txBody>
          <a:bodyPr lIns="18000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никальных пользователей </a:t>
            </a:r>
            <a:br>
              <a:rPr lang="ru-RU" dirty="0"/>
            </a:br>
            <a:r>
              <a:rPr lang="ru-RU" dirty="0"/>
              <a:t>ежедневно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1DD58D2-9775-3258-618E-8EEF6213410A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C3F70D5-1F4A-9C9E-CC6F-15BB7D41959A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559981A-4D4E-1EA7-0644-D580565BBDCE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9A3659D-084E-C773-8278-6F71AFDE7EB2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63D43639-0E7C-94D9-BA98-75491C524209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811884460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-88985" y="4197364"/>
            <a:ext cx="12369970" cy="272902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5B9C3DDA-22FC-E403-D595-E88DC13191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0407" y="3185710"/>
            <a:ext cx="2978051" cy="9470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70</a:t>
            </a:r>
            <a:r>
              <a:rPr lang="en-US" dirty="0"/>
              <a:t>%</a:t>
            </a:r>
            <a:endParaRPr lang="en-RU" dirty="0"/>
          </a:p>
        </p:txBody>
      </p:sp>
      <p:sp>
        <p:nvSpPr>
          <p:cNvPr id="15" name="Text Placeholder 28">
            <a:extLst>
              <a:ext uri="{FF2B5EF4-FFF2-40B4-BE49-F238E27FC236}">
                <a16:creationId xmlns:a16="http://schemas.microsoft.com/office/drawing/2014/main" id="{0F59FC28-561D-B655-D184-73C44DB834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51198" y="3185710"/>
            <a:ext cx="2978051" cy="9470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en-US" dirty="0"/>
              <a:t>3</a:t>
            </a:r>
            <a:r>
              <a:rPr lang="ru-RU" dirty="0"/>
              <a:t>0</a:t>
            </a:r>
            <a:r>
              <a:rPr lang="en-US" dirty="0"/>
              <a:t>%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6224F02E-DBAE-2094-593C-968D819F523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4815" y="4411026"/>
            <a:ext cx="2907562" cy="9045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льзователей услуг мобильной связи и интернета</a:t>
            </a:r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3AEE9A2D-F2D8-9F46-9809-24C3D215B4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642389" y="4411026"/>
            <a:ext cx="2907562" cy="9045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льзователей услуг мобильной связи и интернета</a:t>
            </a:r>
          </a:p>
        </p:txBody>
      </p:sp>
    </p:spTree>
    <p:extLst>
      <p:ext uri="{BB962C8B-B14F-4D97-AF65-F5344CB8AC3E}">
        <p14:creationId xmlns:p14="http://schemas.microsoft.com/office/powerpoint/2010/main" val="69632442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Акциденция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5B9C3DDA-22FC-E403-D595-E88DC13191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4458" y="3824683"/>
            <a:ext cx="11911543" cy="28843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2579" b="0" i="0" cap="all" spc="0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12 млн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06D503F-C213-A189-0BBE-091431A0DD5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180C67B-F430-5AF3-8DFC-113025D4CD4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3E94E7A-F8E6-DCA1-DD02-A9A5940C79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itle 25">
            <a:extLst>
              <a:ext uri="{FF2B5EF4-FFF2-40B4-BE49-F238E27FC236}">
                <a16:creationId xmlns:a16="http://schemas.microsoft.com/office/drawing/2014/main" id="{02A825DA-4FEB-C9AB-447C-FD5493363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5303778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bg1">
                    <a:lumMod val="9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Более 70% населения Москвы пользуются услугами МТС.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76509738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-88985" y="2374254"/>
            <a:ext cx="12369970" cy="455213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5B9C3DDA-22FC-E403-D595-E88DC13191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4815" y="2879223"/>
            <a:ext cx="1756221" cy="54771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869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10</a:t>
            </a:r>
            <a:r>
              <a:rPr lang="en-US" dirty="0"/>
              <a:t>%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67C5D639-070C-48C5-0DBF-ED7F47ED6E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815" y="2522406"/>
            <a:ext cx="1756221" cy="2707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нные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58D8356-7D2E-909A-2D53-29325B782D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4815" y="3431059"/>
            <a:ext cx="2314687" cy="9045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В этом квартале мы сделали вот это и вот это, что дало успешный показатель.</a:t>
            </a:r>
          </a:p>
        </p:txBody>
      </p:sp>
    </p:spTree>
    <p:extLst>
      <p:ext uri="{BB962C8B-B14F-4D97-AF65-F5344CB8AC3E}">
        <p14:creationId xmlns:p14="http://schemas.microsoft.com/office/powerpoint/2010/main" val="3312743621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-88985" y="2374254"/>
            <a:ext cx="12369970" cy="455213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5B9C3DDA-22FC-E403-D595-E88DC13191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4814" y="2851172"/>
            <a:ext cx="2314687" cy="771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5127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10</a:t>
            </a:r>
            <a:r>
              <a:rPr lang="en-US" dirty="0"/>
              <a:t>%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67C5D639-070C-48C5-0DBF-ED7F47ED6E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7" y="2851172"/>
            <a:ext cx="1756221" cy="2707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нные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58D8356-7D2E-909A-2D53-29325B782D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7" y="3180766"/>
            <a:ext cx="2314687" cy="9045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В этом квартале мы сделали вот это и вот это, что дало успешный показатель.</a:t>
            </a:r>
          </a:p>
        </p:txBody>
      </p:sp>
    </p:spTree>
    <p:extLst>
      <p:ext uri="{BB962C8B-B14F-4D97-AF65-F5344CB8AC3E}">
        <p14:creationId xmlns:p14="http://schemas.microsoft.com/office/powerpoint/2010/main" val="109457686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рупное изображение 2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aphic 12">
            <a:extLst>
              <a:ext uri="{FF2B5EF4-FFF2-40B4-BE49-F238E27FC236}">
                <a16:creationId xmlns:a16="http://schemas.microsoft.com/office/drawing/2014/main" id="{836474A4-412E-2D1D-1CA0-8ED3881ED400}"/>
              </a:ext>
            </a:extLst>
          </p:cNvPr>
          <p:cNvGrpSpPr/>
          <p:nvPr/>
        </p:nvGrpSpPr>
        <p:grpSpPr>
          <a:xfrm>
            <a:off x="11421554" y="-374"/>
            <a:ext cx="770446" cy="770488"/>
            <a:chOff x="12388850" y="6718300"/>
            <a:chExt cx="1143000" cy="1143000"/>
          </a:xfrm>
        </p:grpSpPr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295C8C1D-A6F1-1F06-7B54-C6A2D6CC38FE}"/>
                </a:ext>
              </a:extLst>
            </p:cNvPr>
            <p:cNvSpPr/>
            <p:nvPr/>
          </p:nvSpPr>
          <p:spPr>
            <a:xfrm>
              <a:off x="12388850" y="6718300"/>
              <a:ext cx="1143000" cy="1143000"/>
            </a:xfrm>
            <a:custGeom>
              <a:avLst/>
              <a:gdLst>
                <a:gd name="connsiteX0" fmla="*/ 0 w 1143000"/>
                <a:gd name="connsiteY0" fmla="*/ 0 h 1143000"/>
                <a:gd name="connsiteX1" fmla="*/ 1143000 w 1143000"/>
                <a:gd name="connsiteY1" fmla="*/ 0 h 1143000"/>
                <a:gd name="connsiteX2" fmla="*/ 1143000 w 1143000"/>
                <a:gd name="connsiteY2" fmla="*/ 1143000 h 1143000"/>
                <a:gd name="connsiteX3" fmla="*/ 571500 w 1143000"/>
                <a:gd name="connsiteY3" fmla="*/ 1143000 h 1143000"/>
                <a:gd name="connsiteX4" fmla="*/ 571500 w 1143000"/>
                <a:gd name="connsiteY4" fmla="*/ 571500 h 1143000"/>
                <a:gd name="connsiteX5" fmla="*/ 0 w 1143000"/>
                <a:gd name="connsiteY5" fmla="*/ 57150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000" h="1143000">
                  <a:moveTo>
                    <a:pt x="0" y="0"/>
                  </a:moveTo>
                  <a:lnTo>
                    <a:pt x="1143000" y="0"/>
                  </a:lnTo>
                  <a:lnTo>
                    <a:pt x="1143000" y="1143000"/>
                  </a:lnTo>
                  <a:lnTo>
                    <a:pt x="571500" y="1143000"/>
                  </a:lnTo>
                  <a:lnTo>
                    <a:pt x="57150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53690BBA-5869-3DBB-4AE0-B2D98B1BABB8}"/>
                </a:ext>
              </a:extLst>
            </p:cNvPr>
            <p:cNvSpPr/>
            <p:nvPr/>
          </p:nvSpPr>
          <p:spPr>
            <a:xfrm>
              <a:off x="13150468" y="6805453"/>
              <a:ext cx="294036" cy="265366"/>
            </a:xfrm>
            <a:custGeom>
              <a:avLst/>
              <a:gdLst>
                <a:gd name="connsiteX0" fmla="*/ 0 w 294036"/>
                <a:gd name="connsiteY0" fmla="*/ 0 h 265366"/>
                <a:gd name="connsiteX1" fmla="*/ 0 w 294036"/>
                <a:gd name="connsiteY1" fmla="*/ 53340 h 265366"/>
                <a:gd name="connsiteX2" fmla="*/ 114871 w 294036"/>
                <a:gd name="connsiteY2" fmla="*/ 53340 h 265366"/>
                <a:gd name="connsiteX3" fmla="*/ 114871 w 294036"/>
                <a:gd name="connsiteY3" fmla="*/ 261938 h 265366"/>
                <a:gd name="connsiteX4" fmla="*/ 114871 w 294036"/>
                <a:gd name="connsiteY4" fmla="*/ 265367 h 265366"/>
                <a:gd name="connsiteX5" fmla="*/ 179165 w 294036"/>
                <a:gd name="connsiteY5" fmla="*/ 265367 h 265366"/>
                <a:gd name="connsiteX6" fmla="*/ 179165 w 294036"/>
                <a:gd name="connsiteY6" fmla="*/ 53340 h 265366"/>
                <a:gd name="connsiteX7" fmla="*/ 294037 w 294036"/>
                <a:gd name="connsiteY7" fmla="*/ 53340 h 265366"/>
                <a:gd name="connsiteX8" fmla="*/ 294037 w 294036"/>
                <a:gd name="connsiteY8" fmla="*/ 0 h 26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036" h="265366">
                  <a:moveTo>
                    <a:pt x="0" y="0"/>
                  </a:moveTo>
                  <a:lnTo>
                    <a:pt x="0" y="53340"/>
                  </a:lnTo>
                  <a:lnTo>
                    <a:pt x="114871" y="53340"/>
                  </a:lnTo>
                  <a:lnTo>
                    <a:pt x="114871" y="261938"/>
                  </a:lnTo>
                  <a:lnTo>
                    <a:pt x="114871" y="265367"/>
                  </a:lnTo>
                  <a:lnTo>
                    <a:pt x="179165" y="265367"/>
                  </a:lnTo>
                  <a:lnTo>
                    <a:pt x="179165" y="53340"/>
                  </a:lnTo>
                  <a:lnTo>
                    <a:pt x="294037" y="53340"/>
                  </a:lnTo>
                  <a:lnTo>
                    <a:pt x="294037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DC51545-FADD-8B22-BE63-4252EE549BB7}"/>
                </a:ext>
              </a:extLst>
            </p:cNvPr>
            <p:cNvSpPr/>
            <p:nvPr/>
          </p:nvSpPr>
          <p:spPr>
            <a:xfrm>
              <a:off x="12476956" y="6806215"/>
              <a:ext cx="351567" cy="263747"/>
            </a:xfrm>
            <a:custGeom>
              <a:avLst/>
              <a:gdLst>
                <a:gd name="connsiteX0" fmla="*/ 259747 w 351567"/>
                <a:gd name="connsiteY0" fmla="*/ 0 h 263747"/>
                <a:gd name="connsiteX1" fmla="*/ 175736 w 351567"/>
                <a:gd name="connsiteY1" fmla="*/ 174498 h 263747"/>
                <a:gd name="connsiteX2" fmla="*/ 91726 w 351567"/>
                <a:gd name="connsiteY2" fmla="*/ 0 h 263747"/>
                <a:gd name="connsiteX3" fmla="*/ 0 w 351567"/>
                <a:gd name="connsiteY3" fmla="*/ 0 h 263747"/>
                <a:gd name="connsiteX4" fmla="*/ 0 w 351567"/>
                <a:gd name="connsiteY4" fmla="*/ 263747 h 263747"/>
                <a:gd name="connsiteX5" fmla="*/ 64294 w 351567"/>
                <a:gd name="connsiteY5" fmla="*/ 263747 h 263747"/>
                <a:gd name="connsiteX6" fmla="*/ 64294 w 351567"/>
                <a:gd name="connsiteY6" fmla="*/ 74962 h 263747"/>
                <a:gd name="connsiteX7" fmla="*/ 146399 w 351567"/>
                <a:gd name="connsiteY7" fmla="*/ 234505 h 263747"/>
                <a:gd name="connsiteX8" fmla="*/ 205073 w 351567"/>
                <a:gd name="connsiteY8" fmla="*/ 234505 h 263747"/>
                <a:gd name="connsiteX9" fmla="*/ 287179 w 351567"/>
                <a:gd name="connsiteY9" fmla="*/ 74962 h 263747"/>
                <a:gd name="connsiteX10" fmla="*/ 287179 w 351567"/>
                <a:gd name="connsiteY10" fmla="*/ 263747 h 263747"/>
                <a:gd name="connsiteX11" fmla="*/ 351568 w 351567"/>
                <a:gd name="connsiteY11" fmla="*/ 263747 h 263747"/>
                <a:gd name="connsiteX12" fmla="*/ 351568 w 351567"/>
                <a:gd name="connsiteY12" fmla="*/ 0 h 26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1567" h="263747">
                  <a:moveTo>
                    <a:pt x="259747" y="0"/>
                  </a:moveTo>
                  <a:lnTo>
                    <a:pt x="175736" y="174498"/>
                  </a:lnTo>
                  <a:lnTo>
                    <a:pt x="91726" y="0"/>
                  </a:lnTo>
                  <a:lnTo>
                    <a:pt x="0" y="0"/>
                  </a:lnTo>
                  <a:lnTo>
                    <a:pt x="0" y="263747"/>
                  </a:lnTo>
                  <a:lnTo>
                    <a:pt x="64294" y="263747"/>
                  </a:lnTo>
                  <a:lnTo>
                    <a:pt x="64294" y="74962"/>
                  </a:lnTo>
                  <a:lnTo>
                    <a:pt x="146399" y="234505"/>
                  </a:lnTo>
                  <a:lnTo>
                    <a:pt x="205073" y="234505"/>
                  </a:lnTo>
                  <a:lnTo>
                    <a:pt x="287179" y="74962"/>
                  </a:lnTo>
                  <a:lnTo>
                    <a:pt x="287179" y="263747"/>
                  </a:lnTo>
                  <a:lnTo>
                    <a:pt x="351568" y="263747"/>
                  </a:lnTo>
                  <a:lnTo>
                    <a:pt x="351568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CDB98746-6E4C-9A18-C044-034A7A748037}"/>
                </a:ext>
              </a:extLst>
            </p:cNvPr>
            <p:cNvSpPr/>
            <p:nvPr/>
          </p:nvSpPr>
          <p:spPr>
            <a:xfrm>
              <a:off x="13150468" y="7503872"/>
              <a:ext cx="293751" cy="275085"/>
            </a:xfrm>
            <a:custGeom>
              <a:avLst/>
              <a:gdLst>
                <a:gd name="connsiteX0" fmla="*/ 229457 w 293751"/>
                <a:gd name="connsiteY0" fmla="*/ 181596 h 275085"/>
                <a:gd name="connsiteX1" fmla="*/ 216884 w 293751"/>
                <a:gd name="connsiteY1" fmla="*/ 207314 h 275085"/>
                <a:gd name="connsiteX2" fmla="*/ 191167 w 293751"/>
                <a:gd name="connsiteY2" fmla="*/ 220268 h 275085"/>
                <a:gd name="connsiteX3" fmla="*/ 148590 w 293751"/>
                <a:gd name="connsiteY3" fmla="*/ 224173 h 275085"/>
                <a:gd name="connsiteX4" fmla="*/ 103727 w 293751"/>
                <a:gd name="connsiteY4" fmla="*/ 217601 h 275085"/>
                <a:gd name="connsiteX5" fmla="*/ 74581 w 293751"/>
                <a:gd name="connsiteY5" fmla="*/ 195693 h 275085"/>
                <a:gd name="connsiteX6" fmla="*/ 64103 w 293751"/>
                <a:gd name="connsiteY6" fmla="*/ 151307 h 275085"/>
                <a:gd name="connsiteX7" fmla="*/ 64103 w 293751"/>
                <a:gd name="connsiteY7" fmla="*/ 124256 h 275085"/>
                <a:gd name="connsiteX8" fmla="*/ 74581 w 293751"/>
                <a:gd name="connsiteY8" fmla="*/ 79679 h 275085"/>
                <a:gd name="connsiteX9" fmla="*/ 103632 w 293751"/>
                <a:gd name="connsiteY9" fmla="*/ 57771 h 275085"/>
                <a:gd name="connsiteX10" fmla="*/ 148495 w 293751"/>
                <a:gd name="connsiteY10" fmla="*/ 51199 h 275085"/>
                <a:gd name="connsiteX11" fmla="*/ 191071 w 293751"/>
                <a:gd name="connsiteY11" fmla="*/ 55009 h 275085"/>
                <a:gd name="connsiteX12" fmla="*/ 216789 w 293751"/>
                <a:gd name="connsiteY12" fmla="*/ 67963 h 275085"/>
                <a:gd name="connsiteX13" fmla="*/ 229362 w 293751"/>
                <a:gd name="connsiteY13" fmla="*/ 93680 h 275085"/>
                <a:gd name="connsiteX14" fmla="*/ 293751 w 293751"/>
                <a:gd name="connsiteY14" fmla="*/ 93680 h 275085"/>
                <a:gd name="connsiteX15" fmla="*/ 271748 w 293751"/>
                <a:gd name="connsiteY15" fmla="*/ 38531 h 275085"/>
                <a:gd name="connsiteX16" fmla="*/ 223361 w 293751"/>
                <a:gd name="connsiteY16" fmla="*/ 9003 h 275085"/>
                <a:gd name="connsiteX17" fmla="*/ 148590 w 293751"/>
                <a:gd name="connsiteY17" fmla="*/ 50 h 275085"/>
                <a:gd name="connsiteX18" fmla="*/ 69152 w 293751"/>
                <a:gd name="connsiteY18" fmla="*/ 13194 h 275085"/>
                <a:gd name="connsiteX19" fmla="*/ 17717 w 293751"/>
                <a:gd name="connsiteY19" fmla="*/ 57200 h 275085"/>
                <a:gd name="connsiteX20" fmla="*/ 0 w 293751"/>
                <a:gd name="connsiteY20" fmla="*/ 134543 h 275085"/>
                <a:gd name="connsiteX21" fmla="*/ 0 w 293751"/>
                <a:gd name="connsiteY21" fmla="*/ 137495 h 275085"/>
                <a:gd name="connsiteX22" fmla="*/ 3429 w 293751"/>
                <a:gd name="connsiteY22" fmla="*/ 137591 h 275085"/>
                <a:gd name="connsiteX23" fmla="*/ 0 w 293751"/>
                <a:gd name="connsiteY23" fmla="*/ 137591 h 275085"/>
                <a:gd name="connsiteX24" fmla="*/ 0 w 293751"/>
                <a:gd name="connsiteY24" fmla="*/ 140543 h 275085"/>
                <a:gd name="connsiteX25" fmla="*/ 17717 w 293751"/>
                <a:gd name="connsiteY25" fmla="*/ 217886 h 275085"/>
                <a:gd name="connsiteX26" fmla="*/ 69152 w 293751"/>
                <a:gd name="connsiteY26" fmla="*/ 261892 h 275085"/>
                <a:gd name="connsiteX27" fmla="*/ 148590 w 293751"/>
                <a:gd name="connsiteY27" fmla="*/ 275036 h 275085"/>
                <a:gd name="connsiteX28" fmla="*/ 223361 w 293751"/>
                <a:gd name="connsiteY28" fmla="*/ 266083 h 275085"/>
                <a:gd name="connsiteX29" fmla="*/ 271748 w 293751"/>
                <a:gd name="connsiteY29" fmla="*/ 236555 h 275085"/>
                <a:gd name="connsiteX30" fmla="*/ 293751 w 293751"/>
                <a:gd name="connsiteY30" fmla="*/ 181406 h 275085"/>
                <a:gd name="connsiteX31" fmla="*/ 229457 w 293751"/>
                <a:gd name="connsiteY31" fmla="*/ 181596 h 27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93751" h="275085">
                  <a:moveTo>
                    <a:pt x="229457" y="181596"/>
                  </a:moveTo>
                  <a:cubicBezTo>
                    <a:pt x="228219" y="191312"/>
                    <a:pt x="223838" y="200360"/>
                    <a:pt x="216884" y="207314"/>
                  </a:cubicBezTo>
                  <a:cubicBezTo>
                    <a:pt x="209645" y="213886"/>
                    <a:pt x="200787" y="218363"/>
                    <a:pt x="191167" y="220268"/>
                  </a:cubicBezTo>
                  <a:cubicBezTo>
                    <a:pt x="177165" y="223030"/>
                    <a:pt x="162877" y="224363"/>
                    <a:pt x="148590" y="224173"/>
                  </a:cubicBezTo>
                  <a:cubicBezTo>
                    <a:pt x="133350" y="224459"/>
                    <a:pt x="118205" y="222268"/>
                    <a:pt x="103727" y="217601"/>
                  </a:cubicBezTo>
                  <a:cubicBezTo>
                    <a:pt x="91821" y="213695"/>
                    <a:pt x="81629" y="205980"/>
                    <a:pt x="74581" y="195693"/>
                  </a:cubicBezTo>
                  <a:cubicBezTo>
                    <a:pt x="67532" y="185311"/>
                    <a:pt x="64103" y="170357"/>
                    <a:pt x="64103" y="151307"/>
                  </a:cubicBezTo>
                  <a:lnTo>
                    <a:pt x="64103" y="124256"/>
                  </a:lnTo>
                  <a:cubicBezTo>
                    <a:pt x="64103" y="105015"/>
                    <a:pt x="67627" y="90061"/>
                    <a:pt x="74581" y="79679"/>
                  </a:cubicBezTo>
                  <a:cubicBezTo>
                    <a:pt x="81534" y="69296"/>
                    <a:pt x="91726" y="61581"/>
                    <a:pt x="103632" y="57771"/>
                  </a:cubicBezTo>
                  <a:cubicBezTo>
                    <a:pt x="118110" y="53104"/>
                    <a:pt x="133255" y="50913"/>
                    <a:pt x="148495" y="51199"/>
                  </a:cubicBezTo>
                  <a:cubicBezTo>
                    <a:pt x="162782" y="51008"/>
                    <a:pt x="177070" y="52247"/>
                    <a:pt x="191071" y="55009"/>
                  </a:cubicBezTo>
                  <a:cubicBezTo>
                    <a:pt x="200692" y="56914"/>
                    <a:pt x="209550" y="61391"/>
                    <a:pt x="216789" y="67963"/>
                  </a:cubicBezTo>
                  <a:cubicBezTo>
                    <a:pt x="223742" y="74916"/>
                    <a:pt x="228219" y="83965"/>
                    <a:pt x="229362" y="93680"/>
                  </a:cubicBezTo>
                  <a:lnTo>
                    <a:pt x="293751" y="93680"/>
                  </a:lnTo>
                  <a:cubicBezTo>
                    <a:pt x="292608" y="73392"/>
                    <a:pt x="284893" y="54056"/>
                    <a:pt x="271748" y="38531"/>
                  </a:cubicBezTo>
                  <a:cubicBezTo>
                    <a:pt x="258794" y="24243"/>
                    <a:pt x="242030" y="14051"/>
                    <a:pt x="223361" y="9003"/>
                  </a:cubicBezTo>
                  <a:cubicBezTo>
                    <a:pt x="198977" y="2526"/>
                    <a:pt x="173736" y="-427"/>
                    <a:pt x="148590" y="50"/>
                  </a:cubicBezTo>
                  <a:cubicBezTo>
                    <a:pt x="117729" y="50"/>
                    <a:pt x="90964" y="4526"/>
                    <a:pt x="69152" y="13194"/>
                  </a:cubicBezTo>
                  <a:cubicBezTo>
                    <a:pt x="47435" y="21576"/>
                    <a:pt x="29337" y="37102"/>
                    <a:pt x="17717" y="57200"/>
                  </a:cubicBezTo>
                  <a:cubicBezTo>
                    <a:pt x="6382" y="76631"/>
                    <a:pt x="381" y="102634"/>
                    <a:pt x="0" y="134543"/>
                  </a:cubicBezTo>
                  <a:lnTo>
                    <a:pt x="0" y="137495"/>
                  </a:lnTo>
                  <a:lnTo>
                    <a:pt x="3429" y="137591"/>
                  </a:lnTo>
                  <a:lnTo>
                    <a:pt x="0" y="137591"/>
                  </a:lnTo>
                  <a:lnTo>
                    <a:pt x="0" y="140543"/>
                  </a:lnTo>
                  <a:cubicBezTo>
                    <a:pt x="381" y="172452"/>
                    <a:pt x="6382" y="198360"/>
                    <a:pt x="17717" y="217886"/>
                  </a:cubicBezTo>
                  <a:cubicBezTo>
                    <a:pt x="29337" y="237984"/>
                    <a:pt x="47435" y="253510"/>
                    <a:pt x="69152" y="261892"/>
                  </a:cubicBezTo>
                  <a:cubicBezTo>
                    <a:pt x="91059" y="270655"/>
                    <a:pt x="117824" y="275036"/>
                    <a:pt x="148590" y="275036"/>
                  </a:cubicBezTo>
                  <a:cubicBezTo>
                    <a:pt x="173831" y="275513"/>
                    <a:pt x="198977" y="272560"/>
                    <a:pt x="223361" y="266083"/>
                  </a:cubicBezTo>
                  <a:cubicBezTo>
                    <a:pt x="241935" y="261130"/>
                    <a:pt x="258794" y="250843"/>
                    <a:pt x="271748" y="236555"/>
                  </a:cubicBezTo>
                  <a:cubicBezTo>
                    <a:pt x="284893" y="221030"/>
                    <a:pt x="292608" y="201694"/>
                    <a:pt x="293751" y="181406"/>
                  </a:cubicBezTo>
                  <a:lnTo>
                    <a:pt x="229457" y="1815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989A316-9F4F-FDC6-E4E7-68F7D50F51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5920700"/>
              <a:gd name="connsiteY0" fmla="*/ 0 h 14579600"/>
              <a:gd name="connsiteX1" fmla="*/ 24282700 w 25920700"/>
              <a:gd name="connsiteY1" fmla="*/ 0 h 14579600"/>
              <a:gd name="connsiteX2" fmla="*/ 24282700 w 25920700"/>
              <a:gd name="connsiteY2" fmla="*/ 816407 h 14579600"/>
              <a:gd name="connsiteX3" fmla="*/ 25103500 w 25920700"/>
              <a:gd name="connsiteY3" fmla="*/ 816407 h 14579600"/>
              <a:gd name="connsiteX4" fmla="*/ 25103500 w 25920700"/>
              <a:gd name="connsiteY4" fmla="*/ 1637206 h 14579600"/>
              <a:gd name="connsiteX5" fmla="*/ 25920700 w 25920700"/>
              <a:gd name="connsiteY5" fmla="*/ 1637206 h 14579600"/>
              <a:gd name="connsiteX6" fmla="*/ 25920700 w 25920700"/>
              <a:gd name="connsiteY6" fmla="*/ 14579600 h 14579600"/>
              <a:gd name="connsiteX7" fmla="*/ 6659564 w 25920700"/>
              <a:gd name="connsiteY7" fmla="*/ 14579600 h 14579600"/>
              <a:gd name="connsiteX8" fmla="*/ 6659564 w 25920700"/>
              <a:gd name="connsiteY8" fmla="*/ 10425113 h 14579600"/>
              <a:gd name="connsiteX9" fmla="*/ 0 w 25920700"/>
              <a:gd name="connsiteY9" fmla="*/ 10425113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920700" h="14579600">
                <a:moveTo>
                  <a:pt x="0" y="0"/>
                </a:moveTo>
                <a:lnTo>
                  <a:pt x="24282700" y="0"/>
                </a:lnTo>
                <a:lnTo>
                  <a:pt x="24282700" y="816407"/>
                </a:lnTo>
                <a:lnTo>
                  <a:pt x="25103500" y="816407"/>
                </a:lnTo>
                <a:lnTo>
                  <a:pt x="25103500" y="1637206"/>
                </a:lnTo>
                <a:lnTo>
                  <a:pt x="25920700" y="1637206"/>
                </a:lnTo>
                <a:lnTo>
                  <a:pt x="25920700" y="14579600"/>
                </a:lnTo>
                <a:lnTo>
                  <a:pt x="6659564" y="14579600"/>
                </a:lnTo>
                <a:lnTo>
                  <a:pt x="6659564" y="10425113"/>
                </a:lnTo>
                <a:lnTo>
                  <a:pt x="0" y="1042511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BFF8568-4BEB-4CA2-34AF-08726490A300}"/>
              </a:ext>
            </a:extLst>
          </p:cNvPr>
          <p:cNvSpPr/>
          <p:nvPr/>
        </p:nvSpPr>
        <p:spPr>
          <a:xfrm>
            <a:off x="0" y="4903840"/>
            <a:ext cx="3132582" cy="19541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00B61A1-B320-9C76-23BF-0D5EE402F5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83988" y="148976"/>
            <a:ext cx="578386" cy="181885"/>
          </a:xfrm>
          <a:prstGeom prst="rect">
            <a:avLst/>
          </a:prstGeom>
        </p:spPr>
        <p:txBody>
          <a:bodyPr lIns="0" tIns="0" rIns="0" bIns="0"/>
          <a:lstStyle>
            <a:lvl1pPr>
              <a:defRPr sz="988" b="0" i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fld id="{1B200421-228B-BD43-9045-8FEDD241C1B1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10DAF752-2844-AB5E-AB61-F0948E213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7" name="Picture Placeholder 25">
            <a:extLst>
              <a:ext uri="{FF2B5EF4-FFF2-40B4-BE49-F238E27FC236}">
                <a16:creationId xmlns:a16="http://schemas.microsoft.com/office/drawing/2014/main" id="{F57A500F-AA16-4C97-A16D-2B4239A3A70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B2FAF9E9-AF4C-E10E-795F-64809B3D14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0407" y="5104641"/>
            <a:ext cx="2697374" cy="1147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ини-описание того, </a:t>
            </a:r>
            <a:br>
              <a:rPr lang="ru-RU" dirty="0"/>
            </a:br>
            <a:r>
              <a:rPr lang="ru-RU" dirty="0"/>
              <a:t>что это за фото, и зачем </a:t>
            </a:r>
            <a:br>
              <a:rPr lang="ru-RU" dirty="0"/>
            </a:br>
            <a:r>
              <a:rPr lang="ru-RU" dirty="0"/>
              <a:t>мы его показываем.</a:t>
            </a:r>
            <a:endParaRPr lang="en-RU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CFF649E-7594-BAE5-476A-548E56CA3371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Picture Placeholder 25">
            <a:extLst>
              <a:ext uri="{FF2B5EF4-FFF2-40B4-BE49-F238E27FC236}">
                <a16:creationId xmlns:a16="http://schemas.microsoft.com/office/drawing/2014/main" id="{38D02E9C-51D1-9B68-FB8A-1D5A378AD9D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4096959701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с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-88985" y="3121966"/>
            <a:ext cx="12369970" cy="295195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B6D9C6E-F54C-2C86-0593-248E0B3462AA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0" y="1376230"/>
            <a:ext cx="12192000" cy="174586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E17368-618B-6E9E-5DC0-F57EAFBA02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D66CB3-6AE7-4DBD-389A-80D9B1631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2AD494-794A-491F-4D61-DFF138D7DD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4221065942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с таблицей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8986" y="1927123"/>
            <a:ext cx="10732087" cy="414679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B6D9C6E-F54C-2C86-0593-248E0B3462AA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10211024" y="1995750"/>
            <a:ext cx="1790569" cy="402590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E17368-618B-6E9E-5DC0-F57EAFBA02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D66CB3-6AE7-4DBD-389A-80D9B1631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2AD494-794A-491F-4D61-DFF138D7DD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460809030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с таблицей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900904" y="3429000"/>
            <a:ext cx="6210573" cy="264492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751211" cy="1271352"/>
          </a:xfrm>
        </p:spPr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B6D9C6E-F54C-2C86-0593-248E0B3462AA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6096000" y="2494687"/>
            <a:ext cx="5905593" cy="130686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E17368-618B-6E9E-5DC0-F57EAFBA02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D66CB3-6AE7-4DBD-389A-80D9B1631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2AD494-794A-491F-4D61-DFF138D7DD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86756776-5593-7CA3-A33C-B86F8A32F2C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4815" y="3165325"/>
            <a:ext cx="1581584" cy="6362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осква и </a:t>
            </a:r>
            <a:br>
              <a:rPr lang="ru-RU" dirty="0"/>
            </a:br>
            <a:r>
              <a:rPr lang="ru-RU" dirty="0"/>
              <a:t>Москов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2686454576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с таблицей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900904" y="3429000"/>
            <a:ext cx="6210573" cy="264492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751211" cy="1271352"/>
          </a:xfrm>
        </p:spPr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B6D9C6E-F54C-2C86-0593-248E0B3462AA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6096000" y="2494687"/>
            <a:ext cx="5905593" cy="130686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E17368-618B-6E9E-5DC0-F57EAFBA02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D66CB3-6AE7-4DBD-389A-80D9B1631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2AD494-794A-491F-4D61-DFF138D7DD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86756776-5593-7CA3-A33C-B86F8A32F2C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4815" y="5281508"/>
            <a:ext cx="4655977" cy="9294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осква и </a:t>
            </a:r>
            <a:br>
              <a:rPr lang="ru-RU" dirty="0"/>
            </a:br>
            <a:r>
              <a:rPr lang="ru-RU" dirty="0"/>
              <a:t>Московская область</a:t>
            </a:r>
          </a:p>
        </p:txBody>
      </p:sp>
      <p:sp>
        <p:nvSpPr>
          <p:cNvPr id="6" name="Text Placeholder 28">
            <a:extLst>
              <a:ext uri="{FF2B5EF4-FFF2-40B4-BE49-F238E27FC236}">
                <a16:creationId xmlns:a16="http://schemas.microsoft.com/office/drawing/2014/main" id="{8DCE4EA3-F820-AA3B-BD68-A2602DD0BE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4459" y="4304930"/>
            <a:ext cx="4769366" cy="11548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5127" b="0" i="0" cap="all" spc="0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12млн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811535077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с таблицей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03223" y="3429000"/>
            <a:ext cx="12008254" cy="264492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8259169" cy="1271352"/>
          </a:xfrm>
        </p:spPr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B6D9C6E-F54C-2C86-0593-248E0B3462AA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190407" y="2840584"/>
            <a:ext cx="11811187" cy="158103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E17368-618B-6E9E-5DC0-F57EAFBA02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D66CB3-6AE7-4DBD-389A-80D9B1631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2AD494-794A-491F-4D61-DFF138D7DD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A718A05B-31CE-33A3-523F-CBEA4750B48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42450" y="1477633"/>
            <a:ext cx="2370750" cy="9294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осква и </a:t>
            </a:r>
            <a:br>
              <a:rPr lang="ru-RU" dirty="0"/>
            </a:br>
            <a:r>
              <a:rPr lang="ru-RU" dirty="0"/>
              <a:t>Москов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1660428098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хе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5312719" cy="1271352"/>
          </a:xfrm>
        </p:spPr>
        <p:txBody>
          <a:bodyPr/>
          <a:lstStyle/>
          <a:p>
            <a:r>
              <a:rPr lang="ru-RU" dirty="0"/>
              <a:t>Разделение потребителей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E17368-618B-6E9E-5DC0-F57EAFBA02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D66CB3-6AE7-4DBD-389A-80D9B1631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2AD494-794A-491F-4D61-DFF138D7DD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4E412A-F048-A7FA-9063-743CED7D06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583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CA7DA4AE-D56C-EED9-FA70-B46E744C1F6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3219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17CAA5B-174F-252A-6521-D984B47B26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3854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9C8FD1B-19AB-DB19-5D7C-2E3C9BCB062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94490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E8AC6AF-875C-37B9-2DF8-0038BD6B9EB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95125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D3CC7A8-E55B-BA30-7F1F-3BFD95107B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695761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1BF3FCD-D458-942C-66EB-F7588A2497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196396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90B85AB-B341-6785-995F-5CC3B7B6B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97032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751B846-0CDD-2E51-1C7C-E69E3BD40A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97667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E4815962-5331-FE8A-386B-C9551F1FFA2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98303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0C35C54E-FC29-9651-E1C0-7B27D686E60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98938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203CF024-D2A2-A04A-53A6-B483E06DB24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699574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562E4F16-6EC2-3DEC-17C1-83CDA5BFDEA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00210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CC2CF11-F8A9-2EA4-60F0-634B893401C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700845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70EA5AF5-2F4F-BEF8-B39A-0E337CB367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201481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69909721-D6CC-F041-3D9B-6B891CB2143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702116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95AAE725-40CF-7097-EE24-F6B69DC08B5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202752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9A655F4C-57F9-FAA4-E03D-19A79307CCB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703387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E1BC5316-A47B-380D-5D7A-27CDB8BAF1A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04023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14D425-8CA2-FD1B-A05B-6C95024E5E2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704655" y="342900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0E1A3F75-2E70-0F70-ACF6-DD2192525B6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92583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24341FA8-1D06-44EF-1228-03D5965E826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93219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55449987-B44E-88BD-CB66-13B9740A742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193854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89A61400-3742-D53D-BDC4-D96AA71EB97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94490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3" name="Text Placeholder 4">
            <a:extLst>
              <a:ext uri="{FF2B5EF4-FFF2-40B4-BE49-F238E27FC236}">
                <a16:creationId xmlns:a16="http://schemas.microsoft.com/office/drawing/2014/main" id="{30B15067-8E45-79A9-3AB4-710E9DCB3D2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195125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A160165C-EEFA-9BA7-5B4F-4D7A15F03CB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695761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33C7DC14-B883-0FF9-891B-6EFB57353E4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196396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E20A3CD0-DACB-9903-5ADD-8F4D67AAD55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697032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E396E8DE-4CBA-27F1-922B-7FD06AB7CC1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197667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86CFA94C-BD38-B417-C173-5A84BAFA3EF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698303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9" name="Text Placeholder 4">
            <a:extLst>
              <a:ext uri="{FF2B5EF4-FFF2-40B4-BE49-F238E27FC236}">
                <a16:creationId xmlns:a16="http://schemas.microsoft.com/office/drawing/2014/main" id="{1E3828B4-F696-622A-8A74-6DDAA68D94E9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198938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3071D5B7-0E74-2D00-85C4-A82A0AF6D84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699574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1" name="Text Placeholder 4">
            <a:extLst>
              <a:ext uri="{FF2B5EF4-FFF2-40B4-BE49-F238E27FC236}">
                <a16:creationId xmlns:a16="http://schemas.microsoft.com/office/drawing/2014/main" id="{BDC6BAF9-B475-E533-D6FD-566EB06132B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00210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2" name="Text Placeholder 4">
            <a:extLst>
              <a:ext uri="{FF2B5EF4-FFF2-40B4-BE49-F238E27FC236}">
                <a16:creationId xmlns:a16="http://schemas.microsoft.com/office/drawing/2014/main" id="{A31FEE68-650D-1893-E921-5907DE0BB3E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700845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3" name="Text Placeholder 4">
            <a:extLst>
              <a:ext uri="{FF2B5EF4-FFF2-40B4-BE49-F238E27FC236}">
                <a16:creationId xmlns:a16="http://schemas.microsoft.com/office/drawing/2014/main" id="{7FD85117-E866-9437-0611-DD637FA9015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201481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ABE07947-F1C7-34D3-BDD6-42413597EBB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02116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5" name="Text Placeholder 4">
            <a:extLst>
              <a:ext uri="{FF2B5EF4-FFF2-40B4-BE49-F238E27FC236}">
                <a16:creationId xmlns:a16="http://schemas.microsoft.com/office/drawing/2014/main" id="{DD250E49-FEE0-F0EE-EBB3-E81DAAB75C7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8202752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6" name="Text Placeholder 4">
            <a:extLst>
              <a:ext uri="{FF2B5EF4-FFF2-40B4-BE49-F238E27FC236}">
                <a16:creationId xmlns:a16="http://schemas.microsoft.com/office/drawing/2014/main" id="{DBBAB72A-EEA8-F720-8891-6582D41FB85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703387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7" name="Text Placeholder 4">
            <a:extLst>
              <a:ext uri="{FF2B5EF4-FFF2-40B4-BE49-F238E27FC236}">
                <a16:creationId xmlns:a16="http://schemas.microsoft.com/office/drawing/2014/main" id="{3333BAE0-F312-56A2-3755-F000B03C8C1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9204023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8" name="Text Placeholder 4">
            <a:extLst>
              <a:ext uri="{FF2B5EF4-FFF2-40B4-BE49-F238E27FC236}">
                <a16:creationId xmlns:a16="http://schemas.microsoft.com/office/drawing/2014/main" id="{E2520068-13B0-9FAE-00B2-3F6482FA8F7E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704655" y="3934050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9" name="Text Placeholder 4">
            <a:extLst>
              <a:ext uri="{FF2B5EF4-FFF2-40B4-BE49-F238E27FC236}">
                <a16:creationId xmlns:a16="http://schemas.microsoft.com/office/drawing/2014/main" id="{6BC31824-1B7D-17E9-3DD5-02B240FB89B4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92583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0" name="Text Placeholder 4">
            <a:extLst>
              <a:ext uri="{FF2B5EF4-FFF2-40B4-BE49-F238E27FC236}">
                <a16:creationId xmlns:a16="http://schemas.microsoft.com/office/drawing/2014/main" id="{5B753E74-8E29-81A3-39E0-1E911D902407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3219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1" name="Text Placeholder 4">
            <a:extLst>
              <a:ext uri="{FF2B5EF4-FFF2-40B4-BE49-F238E27FC236}">
                <a16:creationId xmlns:a16="http://schemas.microsoft.com/office/drawing/2014/main" id="{939A6672-8442-9E81-9FDC-62D64079F88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1193854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2" name="Text Placeholder 4">
            <a:extLst>
              <a:ext uri="{FF2B5EF4-FFF2-40B4-BE49-F238E27FC236}">
                <a16:creationId xmlns:a16="http://schemas.microsoft.com/office/drawing/2014/main" id="{3BD8E7FB-364D-5EF2-717F-9DF4865064B0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694490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3" name="Text Placeholder 4">
            <a:extLst>
              <a:ext uri="{FF2B5EF4-FFF2-40B4-BE49-F238E27FC236}">
                <a16:creationId xmlns:a16="http://schemas.microsoft.com/office/drawing/2014/main" id="{A18C14B9-68E9-5C36-2401-F25A43F8CDC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195125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4" name="Text Placeholder 4">
            <a:extLst>
              <a:ext uri="{FF2B5EF4-FFF2-40B4-BE49-F238E27FC236}">
                <a16:creationId xmlns:a16="http://schemas.microsoft.com/office/drawing/2014/main" id="{86D3A77E-C01B-90B5-31BE-4E0B5B384B04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695761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5" name="Text Placeholder 4">
            <a:extLst>
              <a:ext uri="{FF2B5EF4-FFF2-40B4-BE49-F238E27FC236}">
                <a16:creationId xmlns:a16="http://schemas.microsoft.com/office/drawing/2014/main" id="{234CF932-4B8A-E66C-48C6-35A76998E4E0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196396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6" name="Text Placeholder 4">
            <a:extLst>
              <a:ext uri="{FF2B5EF4-FFF2-40B4-BE49-F238E27FC236}">
                <a16:creationId xmlns:a16="http://schemas.microsoft.com/office/drawing/2014/main" id="{AF197324-8250-D5E7-74BD-E277611B4D5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697032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7" name="Text Placeholder 4">
            <a:extLst>
              <a:ext uri="{FF2B5EF4-FFF2-40B4-BE49-F238E27FC236}">
                <a16:creationId xmlns:a16="http://schemas.microsoft.com/office/drawing/2014/main" id="{B4EB1796-D613-F85F-A6FF-49CEB48F4804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97667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8" name="Text Placeholder 4">
            <a:extLst>
              <a:ext uri="{FF2B5EF4-FFF2-40B4-BE49-F238E27FC236}">
                <a16:creationId xmlns:a16="http://schemas.microsoft.com/office/drawing/2014/main" id="{EF6E941F-21FB-0528-9ED4-4DCBC5672FE5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98303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9" name="Text Placeholder 4">
            <a:extLst>
              <a:ext uri="{FF2B5EF4-FFF2-40B4-BE49-F238E27FC236}">
                <a16:creationId xmlns:a16="http://schemas.microsoft.com/office/drawing/2014/main" id="{29E5E8ED-000E-DFE7-2167-50F8BA342731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5198938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0" name="Text Placeholder 4">
            <a:extLst>
              <a:ext uri="{FF2B5EF4-FFF2-40B4-BE49-F238E27FC236}">
                <a16:creationId xmlns:a16="http://schemas.microsoft.com/office/drawing/2014/main" id="{AEBBD294-47C6-948B-07D0-B2F60DC1C93A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699574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1" name="Text Placeholder 4">
            <a:extLst>
              <a:ext uri="{FF2B5EF4-FFF2-40B4-BE49-F238E27FC236}">
                <a16:creationId xmlns:a16="http://schemas.microsoft.com/office/drawing/2014/main" id="{BC5B4B22-2E02-56FA-BD62-E6B228FFA504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00210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2" name="Text Placeholder 4">
            <a:extLst>
              <a:ext uri="{FF2B5EF4-FFF2-40B4-BE49-F238E27FC236}">
                <a16:creationId xmlns:a16="http://schemas.microsoft.com/office/drawing/2014/main" id="{43BFC31A-8688-68BA-AAEB-C047F510C52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6700845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3" name="Text Placeholder 4">
            <a:extLst>
              <a:ext uri="{FF2B5EF4-FFF2-40B4-BE49-F238E27FC236}">
                <a16:creationId xmlns:a16="http://schemas.microsoft.com/office/drawing/2014/main" id="{2E273DF2-8CC3-0DB7-28C4-3A4883CF8977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201481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4" name="Text Placeholder 4">
            <a:extLst>
              <a:ext uri="{FF2B5EF4-FFF2-40B4-BE49-F238E27FC236}">
                <a16:creationId xmlns:a16="http://schemas.microsoft.com/office/drawing/2014/main" id="{BC83388D-C023-16E4-B6C7-E74AADB4CE1A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7702116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5" name="Text Placeholder 4">
            <a:extLst>
              <a:ext uri="{FF2B5EF4-FFF2-40B4-BE49-F238E27FC236}">
                <a16:creationId xmlns:a16="http://schemas.microsoft.com/office/drawing/2014/main" id="{FDA6640B-4E2D-668F-059D-F49A9872985A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202752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6" name="Text Placeholder 4">
            <a:extLst>
              <a:ext uri="{FF2B5EF4-FFF2-40B4-BE49-F238E27FC236}">
                <a16:creationId xmlns:a16="http://schemas.microsoft.com/office/drawing/2014/main" id="{D7338CF2-9748-44CB-5EEB-A1819675FE38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703387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7" name="Text Placeholder 4">
            <a:extLst>
              <a:ext uri="{FF2B5EF4-FFF2-40B4-BE49-F238E27FC236}">
                <a16:creationId xmlns:a16="http://schemas.microsoft.com/office/drawing/2014/main" id="{47A41D57-C005-F450-18EF-015F1FCE0767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9204023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8" name="Text Placeholder 4">
            <a:extLst>
              <a:ext uri="{FF2B5EF4-FFF2-40B4-BE49-F238E27FC236}">
                <a16:creationId xmlns:a16="http://schemas.microsoft.com/office/drawing/2014/main" id="{33A7F23D-EDEC-2C70-A6EE-45DA09362147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9704655" y="443909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9" name="Text Placeholder 4">
            <a:extLst>
              <a:ext uri="{FF2B5EF4-FFF2-40B4-BE49-F238E27FC236}">
                <a16:creationId xmlns:a16="http://schemas.microsoft.com/office/drawing/2014/main" id="{6F1931FD-2389-933F-654F-6236ABF13F39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92583" y="4944149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0" name="Text Placeholder 4">
            <a:extLst>
              <a:ext uri="{FF2B5EF4-FFF2-40B4-BE49-F238E27FC236}">
                <a16:creationId xmlns:a16="http://schemas.microsoft.com/office/drawing/2014/main" id="{5181D65E-814B-6DC5-8F30-4FFC00E78941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693219" y="4944149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1" name="Text Placeholder 4">
            <a:extLst>
              <a:ext uri="{FF2B5EF4-FFF2-40B4-BE49-F238E27FC236}">
                <a16:creationId xmlns:a16="http://schemas.microsoft.com/office/drawing/2014/main" id="{96CECD0D-63DC-A92A-80F6-8180CF8A1CB9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93854" y="4944149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2" name="Text Placeholder 4">
            <a:extLst>
              <a:ext uri="{FF2B5EF4-FFF2-40B4-BE49-F238E27FC236}">
                <a16:creationId xmlns:a16="http://schemas.microsoft.com/office/drawing/2014/main" id="{60CD9A04-79C5-D9BA-AF9E-933B440E243D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694490" y="4944149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3" name="Text Placeholder 4">
            <a:extLst>
              <a:ext uri="{FF2B5EF4-FFF2-40B4-BE49-F238E27FC236}">
                <a16:creationId xmlns:a16="http://schemas.microsoft.com/office/drawing/2014/main" id="{01622E4C-0A76-B3FC-45A7-B5D1F6A4092E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2195125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4" name="Text Placeholder 4">
            <a:extLst>
              <a:ext uri="{FF2B5EF4-FFF2-40B4-BE49-F238E27FC236}">
                <a16:creationId xmlns:a16="http://schemas.microsoft.com/office/drawing/2014/main" id="{C6E2379C-F489-6A74-D607-9824636970E2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2695761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5" name="Text Placeholder 4">
            <a:extLst>
              <a:ext uri="{FF2B5EF4-FFF2-40B4-BE49-F238E27FC236}">
                <a16:creationId xmlns:a16="http://schemas.microsoft.com/office/drawing/2014/main" id="{E9087B43-CE16-6DDE-A558-78CCBD14B525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3196396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6" name="Text Placeholder 4">
            <a:extLst>
              <a:ext uri="{FF2B5EF4-FFF2-40B4-BE49-F238E27FC236}">
                <a16:creationId xmlns:a16="http://schemas.microsoft.com/office/drawing/2014/main" id="{3306BE3F-07AC-4861-2C62-68F347C3DE1A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697032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7" name="Text Placeholder 4">
            <a:extLst>
              <a:ext uri="{FF2B5EF4-FFF2-40B4-BE49-F238E27FC236}">
                <a16:creationId xmlns:a16="http://schemas.microsoft.com/office/drawing/2014/main" id="{A278F3C3-2707-859D-A090-C1566A4CF34B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97667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8" name="Text Placeholder 4">
            <a:extLst>
              <a:ext uri="{FF2B5EF4-FFF2-40B4-BE49-F238E27FC236}">
                <a16:creationId xmlns:a16="http://schemas.microsoft.com/office/drawing/2014/main" id="{178D3708-2506-B0CB-0AA6-8B2E86E73468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4698303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9" name="Text Placeholder 4">
            <a:extLst>
              <a:ext uri="{FF2B5EF4-FFF2-40B4-BE49-F238E27FC236}">
                <a16:creationId xmlns:a16="http://schemas.microsoft.com/office/drawing/2014/main" id="{7F8317DD-B4E4-7C36-116C-CF78FD655264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5198938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0" name="Text Placeholder 4">
            <a:extLst>
              <a:ext uri="{FF2B5EF4-FFF2-40B4-BE49-F238E27FC236}">
                <a16:creationId xmlns:a16="http://schemas.microsoft.com/office/drawing/2014/main" id="{F2950DD3-08F7-9867-7EA8-71604A4814F1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5699574" y="4944149"/>
            <a:ext cx="499520" cy="499547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1" name="Text Placeholder 4">
            <a:extLst>
              <a:ext uri="{FF2B5EF4-FFF2-40B4-BE49-F238E27FC236}">
                <a16:creationId xmlns:a16="http://schemas.microsoft.com/office/drawing/2014/main" id="{80CC9CB5-3D2A-AD2F-049B-F01D090EEC8F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200210" y="4944149"/>
            <a:ext cx="499520" cy="499547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2" name="Text Placeholder 4">
            <a:extLst>
              <a:ext uri="{FF2B5EF4-FFF2-40B4-BE49-F238E27FC236}">
                <a16:creationId xmlns:a16="http://schemas.microsoft.com/office/drawing/2014/main" id="{1D02B040-84BD-F20F-8B2E-CA6397D96F6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700845" y="4944149"/>
            <a:ext cx="499520" cy="499547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3" name="Text Placeholder 4">
            <a:extLst>
              <a:ext uri="{FF2B5EF4-FFF2-40B4-BE49-F238E27FC236}">
                <a16:creationId xmlns:a16="http://schemas.microsoft.com/office/drawing/2014/main" id="{E7CA6172-FEF3-234A-0CD0-FF4C63680E5C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7201481" y="4944149"/>
            <a:ext cx="499520" cy="499547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4" name="Text Placeholder 4">
            <a:extLst>
              <a:ext uri="{FF2B5EF4-FFF2-40B4-BE49-F238E27FC236}">
                <a16:creationId xmlns:a16="http://schemas.microsoft.com/office/drawing/2014/main" id="{CC58F7E6-1BC9-2876-9812-2293F0811B74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7702116" y="494414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5" name="Text Placeholder 4">
            <a:extLst>
              <a:ext uri="{FF2B5EF4-FFF2-40B4-BE49-F238E27FC236}">
                <a16:creationId xmlns:a16="http://schemas.microsoft.com/office/drawing/2014/main" id="{34818E20-B12F-AE85-219E-FE9D69A39B9E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8202752" y="494414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6" name="Text Placeholder 4">
            <a:extLst>
              <a:ext uri="{FF2B5EF4-FFF2-40B4-BE49-F238E27FC236}">
                <a16:creationId xmlns:a16="http://schemas.microsoft.com/office/drawing/2014/main" id="{2266D572-7373-3C87-F72C-74F16D30AE54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703387" y="494414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7" name="Text Placeholder 4">
            <a:extLst>
              <a:ext uri="{FF2B5EF4-FFF2-40B4-BE49-F238E27FC236}">
                <a16:creationId xmlns:a16="http://schemas.microsoft.com/office/drawing/2014/main" id="{4A0C2745-C289-BFBB-F68D-047C03B908E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9204023" y="494414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8" name="Text Placeholder 4">
            <a:extLst>
              <a:ext uri="{FF2B5EF4-FFF2-40B4-BE49-F238E27FC236}">
                <a16:creationId xmlns:a16="http://schemas.microsoft.com/office/drawing/2014/main" id="{63EC01F6-E907-EBFC-3FE2-E88134459782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704655" y="4944149"/>
            <a:ext cx="499520" cy="499547"/>
          </a:xfrm>
          <a:prstGeom prst="ellipse">
            <a:avLst/>
          </a:prstGeom>
          <a:solidFill>
            <a:srgbClr val="2A2A2A"/>
          </a:solidFill>
          <a:ln w="12700"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9" name="Text Placeholder 4">
            <a:extLst>
              <a:ext uri="{FF2B5EF4-FFF2-40B4-BE49-F238E27FC236}">
                <a16:creationId xmlns:a16="http://schemas.microsoft.com/office/drawing/2014/main" id="{EA659694-0914-7E60-763C-6AD084D6425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192583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0" name="Text Placeholder 4">
            <a:extLst>
              <a:ext uri="{FF2B5EF4-FFF2-40B4-BE49-F238E27FC236}">
                <a16:creationId xmlns:a16="http://schemas.microsoft.com/office/drawing/2014/main" id="{4A6854AA-34FF-38C5-6FFE-A5199EE157C9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693219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1" name="Text Placeholder 4">
            <a:extLst>
              <a:ext uri="{FF2B5EF4-FFF2-40B4-BE49-F238E27FC236}">
                <a16:creationId xmlns:a16="http://schemas.microsoft.com/office/drawing/2014/main" id="{703DE434-94BF-C5B3-F527-A2CE5F7CFC78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1193854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2" name="Text Placeholder 4">
            <a:extLst>
              <a:ext uri="{FF2B5EF4-FFF2-40B4-BE49-F238E27FC236}">
                <a16:creationId xmlns:a16="http://schemas.microsoft.com/office/drawing/2014/main" id="{125DD4E5-3A54-088E-BBE2-5D28E4DD5754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1694490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3" name="Text Placeholder 4">
            <a:extLst>
              <a:ext uri="{FF2B5EF4-FFF2-40B4-BE49-F238E27FC236}">
                <a16:creationId xmlns:a16="http://schemas.microsoft.com/office/drawing/2014/main" id="{6F26BBCF-614D-164C-7C22-9229F1E496A8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2195125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4" name="Text Placeholder 4">
            <a:extLst>
              <a:ext uri="{FF2B5EF4-FFF2-40B4-BE49-F238E27FC236}">
                <a16:creationId xmlns:a16="http://schemas.microsoft.com/office/drawing/2014/main" id="{E14CECFE-09DE-4358-69F8-98B86FFA4B25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2695761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5" name="Text Placeholder 4">
            <a:extLst>
              <a:ext uri="{FF2B5EF4-FFF2-40B4-BE49-F238E27FC236}">
                <a16:creationId xmlns:a16="http://schemas.microsoft.com/office/drawing/2014/main" id="{3C65F5DC-2AE7-4590-3FF3-96E3A0D889D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3196396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6" name="Text Placeholder 4">
            <a:extLst>
              <a:ext uri="{FF2B5EF4-FFF2-40B4-BE49-F238E27FC236}">
                <a16:creationId xmlns:a16="http://schemas.microsoft.com/office/drawing/2014/main" id="{6DF691F0-F5DC-1BB6-E1F9-6EC31B39DFB4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3697032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7" name="Text Placeholder 4">
            <a:extLst>
              <a:ext uri="{FF2B5EF4-FFF2-40B4-BE49-F238E27FC236}">
                <a16:creationId xmlns:a16="http://schemas.microsoft.com/office/drawing/2014/main" id="{FA6B0260-8767-F5D2-8D85-A1D2C84F8C3E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4197667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8" name="Text Placeholder 4">
            <a:extLst>
              <a:ext uri="{FF2B5EF4-FFF2-40B4-BE49-F238E27FC236}">
                <a16:creationId xmlns:a16="http://schemas.microsoft.com/office/drawing/2014/main" id="{D4A97AFB-340B-013D-6BE6-B0323C8ADCF2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4698303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9" name="Text Placeholder 4">
            <a:extLst>
              <a:ext uri="{FF2B5EF4-FFF2-40B4-BE49-F238E27FC236}">
                <a16:creationId xmlns:a16="http://schemas.microsoft.com/office/drawing/2014/main" id="{FAEBDCFA-CFA0-A9DE-9A85-9F4E08484BB7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198938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0" name="Text Placeholder 4">
            <a:extLst>
              <a:ext uri="{FF2B5EF4-FFF2-40B4-BE49-F238E27FC236}">
                <a16:creationId xmlns:a16="http://schemas.microsoft.com/office/drawing/2014/main" id="{1D9FB26D-48D8-56EF-CF37-18DB10DD4AF4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5699574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1" name="Text Placeholder 4">
            <a:extLst>
              <a:ext uri="{FF2B5EF4-FFF2-40B4-BE49-F238E27FC236}">
                <a16:creationId xmlns:a16="http://schemas.microsoft.com/office/drawing/2014/main" id="{B21CE896-503F-E57C-DEE7-FDC58690B5AE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6200210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2" name="Text Placeholder 4">
            <a:extLst>
              <a:ext uri="{FF2B5EF4-FFF2-40B4-BE49-F238E27FC236}">
                <a16:creationId xmlns:a16="http://schemas.microsoft.com/office/drawing/2014/main" id="{2F1BFC64-7F32-B267-6A44-1A1166250119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6700845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3" name="Text Placeholder 4">
            <a:extLst>
              <a:ext uri="{FF2B5EF4-FFF2-40B4-BE49-F238E27FC236}">
                <a16:creationId xmlns:a16="http://schemas.microsoft.com/office/drawing/2014/main" id="{4B547A9A-18EA-C9E5-A10D-AD97194646EE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7201481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4" name="Text Placeholder 4">
            <a:extLst>
              <a:ext uri="{FF2B5EF4-FFF2-40B4-BE49-F238E27FC236}">
                <a16:creationId xmlns:a16="http://schemas.microsoft.com/office/drawing/2014/main" id="{4CEC5281-1425-D43D-7279-D83802188B4F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7702116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5" name="Text Placeholder 4">
            <a:extLst>
              <a:ext uri="{FF2B5EF4-FFF2-40B4-BE49-F238E27FC236}">
                <a16:creationId xmlns:a16="http://schemas.microsoft.com/office/drawing/2014/main" id="{8651CEE6-FF21-17AD-01F9-51DF1682C642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8202752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6" name="Text Placeholder 4">
            <a:extLst>
              <a:ext uri="{FF2B5EF4-FFF2-40B4-BE49-F238E27FC236}">
                <a16:creationId xmlns:a16="http://schemas.microsoft.com/office/drawing/2014/main" id="{9DB8DB5E-300E-2D5D-B219-CBF8ADDB8D82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703387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7" name="Text Placeholder 4">
            <a:extLst>
              <a:ext uri="{FF2B5EF4-FFF2-40B4-BE49-F238E27FC236}">
                <a16:creationId xmlns:a16="http://schemas.microsoft.com/office/drawing/2014/main" id="{4F37978D-8BB5-F511-9E99-7D7AEBCAFF96}"/>
              </a:ext>
            </a:extLst>
          </p:cNvPr>
          <p:cNvSpPr>
            <a:spLocks noGrp="1"/>
          </p:cNvSpPr>
          <p:nvPr>
            <p:ph type="body" sz="quarter" idx="126" hasCustomPrompt="1"/>
          </p:nvPr>
        </p:nvSpPr>
        <p:spPr>
          <a:xfrm>
            <a:off x="9204023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8" name="Text Placeholder 4">
            <a:extLst>
              <a:ext uri="{FF2B5EF4-FFF2-40B4-BE49-F238E27FC236}">
                <a16:creationId xmlns:a16="http://schemas.microsoft.com/office/drawing/2014/main" id="{F4E77403-3A83-8FAB-0E5C-DC0FBEA56612}"/>
              </a:ext>
            </a:extLst>
          </p:cNvPr>
          <p:cNvSpPr>
            <a:spLocks noGrp="1"/>
          </p:cNvSpPr>
          <p:nvPr>
            <p:ph type="body" sz="quarter" idx="127" hasCustomPrompt="1"/>
          </p:nvPr>
        </p:nvSpPr>
        <p:spPr>
          <a:xfrm>
            <a:off x="9704655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01" name="Text Placeholder 14">
            <a:extLst>
              <a:ext uri="{FF2B5EF4-FFF2-40B4-BE49-F238E27FC236}">
                <a16:creationId xmlns:a16="http://schemas.microsoft.com/office/drawing/2014/main" id="{133BBCD3-FE88-12E4-1364-44341415BEA9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6115770" y="982574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4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202" name="Text Placeholder 14">
            <a:extLst>
              <a:ext uri="{FF2B5EF4-FFF2-40B4-BE49-F238E27FC236}">
                <a16:creationId xmlns:a16="http://schemas.microsoft.com/office/drawing/2014/main" id="{DD0A5B79-672F-5C3D-51BB-37CCA45170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15770" y="1314920"/>
            <a:ext cx="1166903" cy="386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203" name="Text Placeholder 4">
            <a:extLst>
              <a:ext uri="{FF2B5EF4-FFF2-40B4-BE49-F238E27FC236}">
                <a16:creationId xmlns:a16="http://schemas.microsoft.com/office/drawing/2014/main" id="{AA090E2F-9D81-346E-3CAD-56BD4F1257B4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7667936" y="991757"/>
            <a:ext cx="183942" cy="183952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04" name="Text Placeholder 14">
            <a:extLst>
              <a:ext uri="{FF2B5EF4-FFF2-40B4-BE49-F238E27FC236}">
                <a16:creationId xmlns:a16="http://schemas.microsoft.com/office/drawing/2014/main" id="{A51AE00D-9FED-B36C-7B51-27B2F54A9E44}"/>
              </a:ext>
            </a:extLst>
          </p:cNvPr>
          <p:cNvSpPr>
            <a:spLocks noGrp="1"/>
          </p:cNvSpPr>
          <p:nvPr>
            <p:ph type="body" sz="quarter" idx="130" hasCustomPrompt="1"/>
          </p:nvPr>
        </p:nvSpPr>
        <p:spPr>
          <a:xfrm>
            <a:off x="8472557" y="982574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7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205" name="Text Placeholder 14">
            <a:extLst>
              <a:ext uri="{FF2B5EF4-FFF2-40B4-BE49-F238E27FC236}">
                <a16:creationId xmlns:a16="http://schemas.microsoft.com/office/drawing/2014/main" id="{F2188B74-0D23-1924-42D7-E074B3F6A47D}"/>
              </a:ext>
            </a:extLst>
          </p:cNvPr>
          <p:cNvSpPr>
            <a:spLocks noGrp="1"/>
          </p:cNvSpPr>
          <p:nvPr>
            <p:ph type="body" sz="quarter" idx="131" hasCustomPrompt="1"/>
          </p:nvPr>
        </p:nvSpPr>
        <p:spPr>
          <a:xfrm>
            <a:off x="8472557" y="1314920"/>
            <a:ext cx="1166903" cy="386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206" name="Text Placeholder 4">
            <a:extLst>
              <a:ext uri="{FF2B5EF4-FFF2-40B4-BE49-F238E27FC236}">
                <a16:creationId xmlns:a16="http://schemas.microsoft.com/office/drawing/2014/main" id="{636F9D1D-1CF5-7448-C188-A12151698504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10020233" y="991757"/>
            <a:ext cx="183942" cy="183952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07" name="Text Placeholder 14">
            <a:extLst>
              <a:ext uri="{FF2B5EF4-FFF2-40B4-BE49-F238E27FC236}">
                <a16:creationId xmlns:a16="http://schemas.microsoft.com/office/drawing/2014/main" id="{03F3857E-7BE3-87A8-B938-1B16E0D507A2}"/>
              </a:ext>
            </a:extLst>
          </p:cNvPr>
          <p:cNvSpPr>
            <a:spLocks noGrp="1"/>
          </p:cNvSpPr>
          <p:nvPr>
            <p:ph type="body" sz="quarter" idx="133" hasCustomPrompt="1"/>
          </p:nvPr>
        </p:nvSpPr>
        <p:spPr>
          <a:xfrm>
            <a:off x="6115770" y="2060754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65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208" name="Text Placeholder 14">
            <a:extLst>
              <a:ext uri="{FF2B5EF4-FFF2-40B4-BE49-F238E27FC236}">
                <a16:creationId xmlns:a16="http://schemas.microsoft.com/office/drawing/2014/main" id="{7FC64143-BD84-6BAC-E0E8-7E6A8998F759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6115770" y="2393100"/>
            <a:ext cx="1166903" cy="386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слуги мобильной связи и интернета</a:t>
            </a:r>
          </a:p>
        </p:txBody>
      </p:sp>
      <p:sp>
        <p:nvSpPr>
          <p:cNvPr id="209" name="Text Placeholder 4">
            <a:extLst>
              <a:ext uri="{FF2B5EF4-FFF2-40B4-BE49-F238E27FC236}">
                <a16:creationId xmlns:a16="http://schemas.microsoft.com/office/drawing/2014/main" id="{4D6A4911-1383-E2A0-B6B9-AB261BCAE5D9}"/>
              </a:ext>
            </a:extLst>
          </p:cNvPr>
          <p:cNvSpPr>
            <a:spLocks noGrp="1"/>
          </p:cNvSpPr>
          <p:nvPr>
            <p:ph type="body" sz="quarter" idx="135" hasCustomPrompt="1"/>
          </p:nvPr>
        </p:nvSpPr>
        <p:spPr>
          <a:xfrm>
            <a:off x="7667936" y="2069937"/>
            <a:ext cx="183942" cy="18395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10" name="Text Placeholder 14">
            <a:extLst>
              <a:ext uri="{FF2B5EF4-FFF2-40B4-BE49-F238E27FC236}">
                <a16:creationId xmlns:a16="http://schemas.microsoft.com/office/drawing/2014/main" id="{B88FC079-B8B6-C846-EF01-2F0308F28209}"/>
              </a:ext>
            </a:extLst>
          </p:cNvPr>
          <p:cNvSpPr>
            <a:spLocks noGrp="1"/>
          </p:cNvSpPr>
          <p:nvPr>
            <p:ph type="body" sz="quarter" idx="136" hasCustomPrompt="1"/>
          </p:nvPr>
        </p:nvSpPr>
        <p:spPr>
          <a:xfrm>
            <a:off x="8472557" y="2060754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4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211" name="Text Placeholder 14">
            <a:extLst>
              <a:ext uri="{FF2B5EF4-FFF2-40B4-BE49-F238E27FC236}">
                <a16:creationId xmlns:a16="http://schemas.microsoft.com/office/drawing/2014/main" id="{A261A146-CF1E-6A0A-9297-D920AE98907C}"/>
              </a:ext>
            </a:extLst>
          </p:cNvPr>
          <p:cNvSpPr>
            <a:spLocks noGrp="1"/>
          </p:cNvSpPr>
          <p:nvPr>
            <p:ph type="body" sz="quarter" idx="137" hasCustomPrompt="1"/>
          </p:nvPr>
        </p:nvSpPr>
        <p:spPr>
          <a:xfrm>
            <a:off x="8472557" y="2393100"/>
            <a:ext cx="1166903" cy="386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слуги мобильной связи и интернета</a:t>
            </a:r>
          </a:p>
        </p:txBody>
      </p:sp>
      <p:sp>
        <p:nvSpPr>
          <p:cNvPr id="212" name="Text Placeholder 4">
            <a:extLst>
              <a:ext uri="{FF2B5EF4-FFF2-40B4-BE49-F238E27FC236}">
                <a16:creationId xmlns:a16="http://schemas.microsoft.com/office/drawing/2014/main" id="{B1E2E927-9DB7-6F5E-F1C8-91DE0AED53F9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10020233" y="2069937"/>
            <a:ext cx="183942" cy="183952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18D67385-1F72-3F06-F3FB-4692BB7FB508}"/>
              </a:ext>
            </a:extLst>
          </p:cNvPr>
          <p:cNvCxnSpPr/>
          <p:nvPr/>
        </p:nvCxnSpPr>
        <p:spPr>
          <a:xfrm>
            <a:off x="6096000" y="845405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84271C92-4AA6-25E6-48C4-4272D4D47D4C}"/>
              </a:ext>
            </a:extLst>
          </p:cNvPr>
          <p:cNvCxnSpPr/>
          <p:nvPr/>
        </p:nvCxnSpPr>
        <p:spPr>
          <a:xfrm>
            <a:off x="8461523" y="845405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C112F70C-F64A-2B4A-3CA1-DFD06F8899F5}"/>
              </a:ext>
            </a:extLst>
          </p:cNvPr>
          <p:cNvCxnSpPr/>
          <p:nvPr/>
        </p:nvCxnSpPr>
        <p:spPr>
          <a:xfrm>
            <a:off x="8461523" y="193724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6448D204-C45F-CB2B-8BC9-DDB35F72743B}"/>
              </a:ext>
            </a:extLst>
          </p:cNvPr>
          <p:cNvCxnSpPr/>
          <p:nvPr/>
        </p:nvCxnSpPr>
        <p:spPr>
          <a:xfrm>
            <a:off x="6096000" y="193724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9870439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акциден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D958D2E5-BA92-E5C5-7CAB-4F3A82F20586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5300CE5-D6E0-49AF-3D29-36CF3E981AE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9BDE7EE-3E29-8A80-28A5-7D8164B0C4FC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5530F1BF-31EE-F607-028F-FD2DBF5C80D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983F310-3D4D-86B5-7447-0738AE221151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5503126" y="-74158"/>
            <a:ext cx="6777859" cy="700054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5B9C3DDA-22FC-E403-D595-E88DC13191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0407" y="714342"/>
            <a:ext cx="4127718" cy="9470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6 млн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AFAD85ED-E3B0-77BE-5F1A-27A58C4D763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04025" y="1796588"/>
            <a:ext cx="4689800" cy="16324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новых пользователей присоединилось к нашим сервисами за 2022 год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5D039D7D-225E-3539-C31B-E7BA76AD31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84729" y="6526972"/>
            <a:ext cx="2334360" cy="20658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FontTx/>
              <a:buNone/>
              <a:defRPr sz="1317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Данные</a:t>
            </a:r>
            <a:endParaRPr lang="en-RU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52014F-D39D-CB66-FF31-2338DEDF8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CD756BA-76A7-3A0C-999D-C7F2F6AB268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209908254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761669"/>
            <a:ext cx="5905593" cy="5815547"/>
          </a:xfrm>
          <a:prstGeom prst="rect">
            <a:avLst/>
          </a:prstGeom>
        </p:spPr>
        <p:txBody>
          <a:bodyPr anchor="t"/>
          <a:lstStyle>
            <a:lvl1pPr marL="0" indent="0" algn="ctr">
              <a:buFontTx/>
              <a:buNone/>
              <a:defRPr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52014F-D39D-CB66-FF31-2338DEDF8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CD756BA-76A7-3A0C-999D-C7F2F6AB268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2CF373DB-4E66-BB50-DC22-A00551363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07" y="784080"/>
            <a:ext cx="4703418" cy="179663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RU" dirty="0"/>
          </a:p>
        </p:txBody>
      </p:sp>
      <p:sp>
        <p:nvSpPr>
          <p:cNvPr id="18" name="Text Placeholder 28">
            <a:extLst>
              <a:ext uri="{FF2B5EF4-FFF2-40B4-BE49-F238E27FC236}">
                <a16:creationId xmlns:a16="http://schemas.microsoft.com/office/drawing/2014/main" id="{EE1CF02E-B1FD-81F4-5070-59F4C607D4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92690" y="2508574"/>
            <a:ext cx="4522459" cy="207815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МТС</a:t>
            </a:r>
            <a:endParaRPr lang="en-RU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FE294E8-AA2C-765E-DFA3-D7540F9A4DE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B94C341-45FF-2557-437C-D0571A816179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3B0F0FFB-19A0-EC2E-E8C5-EDFA02AD7DAD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F1A61CC-5800-7780-CF6E-EE9FA6B2CFA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3D10494-6E86-5267-0F01-EFEAE8C28F2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2275336522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ьцев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761669"/>
            <a:ext cx="5905593" cy="5815547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52014F-D39D-CB66-FF31-2338DEDF8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CD756BA-76A7-3A0C-999D-C7F2F6AB268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FE294E8-AA2C-765E-DFA3-D7540F9A4DE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B94C341-45FF-2557-437C-D0571A816179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3B0F0FFB-19A0-EC2E-E8C5-EDFA02AD7DAD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F1A61CC-5800-7780-CF6E-EE9FA6B2CFA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3D10494-6E86-5267-0F01-EFEAE8C28F2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" name="Title 25">
            <a:extLst>
              <a:ext uri="{FF2B5EF4-FFF2-40B4-BE49-F238E27FC236}">
                <a16:creationId xmlns:a16="http://schemas.microsoft.com/office/drawing/2014/main" id="{97D570E6-D5E0-0FAA-9572-4031E9A1A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5303778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Более 70% населения Москвы пользуются услугами МТС.</a:t>
            </a:r>
            <a:endParaRPr lang="en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45EE3D-6D7B-31F3-497E-93739435CDC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4871" y="875365"/>
            <a:ext cx="5587849" cy="5588153"/>
          </a:xfrm>
          <a:prstGeom prst="ellipse">
            <a:avLst/>
          </a:prstGeom>
          <a:solidFill>
            <a:srgbClr val="2A2A2A"/>
          </a:solidFill>
          <a:ln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" name="Text Placeholder 28">
            <a:extLst>
              <a:ext uri="{FF2B5EF4-FFF2-40B4-BE49-F238E27FC236}">
                <a16:creationId xmlns:a16="http://schemas.microsoft.com/office/drawing/2014/main" id="{EE1CF02E-B1FD-81F4-5070-59F4C607D4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7567" y="2630363"/>
            <a:ext cx="4522459" cy="207815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МТС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0A5058A-6D6D-1B58-6FE8-67BCF5F050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0177" y="3027216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осква и Московская область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8D58B2F-E633-3701-D47A-A9E65D9462C4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1762343" y="2675575"/>
            <a:ext cx="183942" cy="183952"/>
          </a:xfrm>
          <a:prstGeom prst="ellipse">
            <a:avLst/>
          </a:prstGeom>
          <a:noFill/>
          <a:ln w="25400">
            <a:solidFill>
              <a:schemeClr val="bg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3AE944E-0901-159A-860B-5B9C66777A0A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4137170" y="2675575"/>
            <a:ext cx="183942" cy="183952"/>
          </a:xfrm>
          <a:prstGeom prst="ellipse">
            <a:avLst/>
          </a:prstGeom>
          <a:noFill/>
          <a:ln w="25400">
            <a:solidFill>
              <a:schemeClr val="bg1"/>
            </a:solidFill>
            <a:prstDash val="lgDash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806B9A4-FB9D-8E7A-EE87-232F051E1DF3}"/>
              </a:ext>
            </a:extLst>
          </p:cNvPr>
          <p:cNvCxnSpPr/>
          <p:nvPr/>
        </p:nvCxnSpPr>
        <p:spPr>
          <a:xfrm>
            <a:off x="190407" y="249956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A20B53-856E-0442-6A43-75E28CBF9C4B}"/>
              </a:ext>
            </a:extLst>
          </p:cNvPr>
          <p:cNvCxnSpPr/>
          <p:nvPr/>
        </p:nvCxnSpPr>
        <p:spPr>
          <a:xfrm>
            <a:off x="2555930" y="249956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C635CB80-CEB1-FBAE-319F-0204642CC30C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1762343" y="3796155"/>
            <a:ext cx="183942" cy="183952"/>
          </a:xfrm>
          <a:prstGeom prst="ellipse">
            <a:avLst/>
          </a:prstGeom>
          <a:noFill/>
          <a:ln w="25400">
            <a:solidFill>
              <a:schemeClr val="bg1"/>
            </a:solidFill>
            <a:prstDash val="dash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806DBB8-7480-7C08-F1D2-4166117CBD1D}"/>
              </a:ext>
            </a:extLst>
          </p:cNvPr>
          <p:cNvSpPr>
            <a:spLocks noGrp="1"/>
          </p:cNvSpPr>
          <p:nvPr>
            <p:ph type="body" sz="quarter" idx="142" hasCustomPrompt="1"/>
          </p:nvPr>
        </p:nvSpPr>
        <p:spPr>
          <a:xfrm>
            <a:off x="4137170" y="3796155"/>
            <a:ext cx="183942" cy="183952"/>
          </a:xfrm>
          <a:prstGeom prst="ellipse">
            <a:avLst/>
          </a:prstGeom>
          <a:noFill/>
          <a:ln w="25400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A147CD8-09A7-2126-E996-01EA84C38831}"/>
              </a:ext>
            </a:extLst>
          </p:cNvPr>
          <p:cNvCxnSpPr/>
          <p:nvPr/>
        </p:nvCxnSpPr>
        <p:spPr>
          <a:xfrm>
            <a:off x="190407" y="362014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5D64BC-148C-2425-DFAF-E0C32B0E49EA}"/>
              </a:ext>
            </a:extLst>
          </p:cNvPr>
          <p:cNvCxnSpPr/>
          <p:nvPr/>
        </p:nvCxnSpPr>
        <p:spPr>
          <a:xfrm>
            <a:off x="2555930" y="362014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B2F8E77-9789-C114-415F-B50B0C96A99A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8955311" y="717794"/>
            <a:ext cx="183942" cy="183952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8F8D0F1-7715-76B4-A06F-0A4AD68E384D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6478557" y="2156466"/>
            <a:ext cx="183942" cy="183952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E8A1EE7C-9CDF-93A8-2878-E5BD1C98A469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8362077" y="6353829"/>
            <a:ext cx="183942" cy="183952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9ECA1400-166D-FBE6-69FB-16229F3369BA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204025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50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FF222637-8C12-6F9C-E5B3-D3C6C57D3B70}"/>
              </a:ext>
            </a:extLst>
          </p:cNvPr>
          <p:cNvSpPr>
            <a:spLocks noGrp="1"/>
          </p:cNvSpPr>
          <p:nvPr>
            <p:ph type="body" sz="quarter" idx="147" hasCustomPrompt="1"/>
          </p:nvPr>
        </p:nvSpPr>
        <p:spPr>
          <a:xfrm>
            <a:off x="2544978" y="3027216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Регионы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7DC08D06-6AA4-53FE-5BD8-41AB083F5384}"/>
              </a:ext>
            </a:extLst>
          </p:cNvPr>
          <p:cNvSpPr>
            <a:spLocks noGrp="1"/>
          </p:cNvSpPr>
          <p:nvPr>
            <p:ph type="body" sz="quarter" idx="148" hasCustomPrompt="1"/>
          </p:nvPr>
        </p:nvSpPr>
        <p:spPr>
          <a:xfrm>
            <a:off x="2538827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5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B33470A9-9275-47BB-94F0-9F9B4842EB10}"/>
              </a:ext>
            </a:extLst>
          </p:cNvPr>
          <p:cNvSpPr>
            <a:spLocks noGrp="1"/>
          </p:cNvSpPr>
          <p:nvPr>
            <p:ph type="body" sz="quarter" idx="149" hasCustomPrompt="1"/>
          </p:nvPr>
        </p:nvSpPr>
        <p:spPr>
          <a:xfrm>
            <a:off x="210177" y="4149697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Ленобласть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0B9DA084-D737-A91F-3450-4AB252FDF571}"/>
              </a:ext>
            </a:extLst>
          </p:cNvPr>
          <p:cNvSpPr>
            <a:spLocks noGrp="1"/>
          </p:cNvSpPr>
          <p:nvPr>
            <p:ph type="body" sz="quarter" idx="150" hasCustomPrompt="1"/>
          </p:nvPr>
        </p:nvSpPr>
        <p:spPr>
          <a:xfrm>
            <a:off x="204025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50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7EE6216C-5A35-8A43-DFC9-9145D0DA46E5}"/>
              </a:ext>
            </a:extLst>
          </p:cNvPr>
          <p:cNvSpPr>
            <a:spLocks noGrp="1"/>
          </p:cNvSpPr>
          <p:nvPr>
            <p:ph type="body" sz="quarter" idx="151" hasCustomPrompt="1"/>
          </p:nvPr>
        </p:nvSpPr>
        <p:spPr>
          <a:xfrm>
            <a:off x="2544978" y="4149697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98CC07F6-6B6A-B5F5-0F3D-EB3F855B35F7}"/>
              </a:ext>
            </a:extLst>
          </p:cNvPr>
          <p:cNvSpPr>
            <a:spLocks noGrp="1"/>
          </p:cNvSpPr>
          <p:nvPr>
            <p:ph type="body" sz="quarter" idx="152" hasCustomPrompt="1"/>
          </p:nvPr>
        </p:nvSpPr>
        <p:spPr>
          <a:xfrm>
            <a:off x="2538827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5</a:t>
            </a:r>
            <a:r>
              <a:rPr lang="en-US" dirty="0"/>
              <a:t>%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230324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ьцевая диаграмм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761668"/>
            <a:ext cx="2946450" cy="29015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317"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52014F-D39D-CB66-FF31-2338DEDF8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CD756BA-76A7-3A0C-999D-C7F2F6AB268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FE294E8-AA2C-765E-DFA3-D7540F9A4DE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B94C341-45FF-2557-437C-D0571A816179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3B0F0FFB-19A0-EC2E-E8C5-EDFA02AD7DAD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F1A61CC-5800-7780-CF6E-EE9FA6B2CFA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3D10494-6E86-5267-0F01-EFEAE8C28F2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" name="Title 25">
            <a:extLst>
              <a:ext uri="{FF2B5EF4-FFF2-40B4-BE49-F238E27FC236}">
                <a16:creationId xmlns:a16="http://schemas.microsoft.com/office/drawing/2014/main" id="{97D570E6-D5E0-0FAA-9572-4031E9A1A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5303778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Более 70% населения Москвы пользуются услугами МТС.</a:t>
            </a:r>
            <a:endParaRPr lang="en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45EE3D-6D7B-31F3-497E-93739435CDC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33457" y="876589"/>
            <a:ext cx="2671537" cy="2671682"/>
          </a:xfrm>
          <a:prstGeom prst="ellipse">
            <a:avLst/>
          </a:prstGeom>
          <a:solidFill>
            <a:srgbClr val="2A2A2A"/>
          </a:solidFill>
          <a:ln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" name="Text Placeholder 28">
            <a:extLst>
              <a:ext uri="{FF2B5EF4-FFF2-40B4-BE49-F238E27FC236}">
                <a16:creationId xmlns:a16="http://schemas.microsoft.com/office/drawing/2014/main" id="{EE1CF02E-B1FD-81F4-5070-59F4C607D4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70776" y="1797615"/>
            <a:ext cx="1805427" cy="82963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235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МТС</a:t>
            </a:r>
            <a:endParaRPr lang="en-RU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B2F8E77-9789-C114-415F-B50B0C96A99A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7508627" y="785770"/>
            <a:ext cx="121196" cy="121202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E66FAF1-0CDF-867B-C740-30F205F4017D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6128472" y="2121063"/>
            <a:ext cx="121196" cy="121202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74E3E0C-B697-3118-CD94-53813EED2A76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8875945" y="2332913"/>
            <a:ext cx="121196" cy="121202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2E56BCDE-CCB2-0201-6FDF-1731A021A4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0177" y="3027216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осква и Московская область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F496F1E-AE65-04EE-18F2-E5911321273B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1762343" y="2675575"/>
            <a:ext cx="183942" cy="183952"/>
          </a:xfrm>
          <a:prstGeom prst="ellipse">
            <a:avLst/>
          </a:prstGeom>
          <a:noFill/>
          <a:ln w="25400">
            <a:solidFill>
              <a:schemeClr val="bg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77DAAB6A-D2F0-3AAF-2841-695490D9A022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4137170" y="2675575"/>
            <a:ext cx="183942" cy="183952"/>
          </a:xfrm>
          <a:prstGeom prst="ellipse">
            <a:avLst/>
          </a:prstGeom>
          <a:noFill/>
          <a:ln w="25400">
            <a:solidFill>
              <a:schemeClr val="bg1"/>
            </a:solidFill>
            <a:prstDash val="lgDash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52DA56C-22C8-6E9D-0F00-D7F4C5A1909E}"/>
              </a:ext>
            </a:extLst>
          </p:cNvPr>
          <p:cNvCxnSpPr/>
          <p:nvPr/>
        </p:nvCxnSpPr>
        <p:spPr>
          <a:xfrm>
            <a:off x="190407" y="249956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822D7A6-461D-A2CD-8B84-432CA78A13C9}"/>
              </a:ext>
            </a:extLst>
          </p:cNvPr>
          <p:cNvCxnSpPr/>
          <p:nvPr/>
        </p:nvCxnSpPr>
        <p:spPr>
          <a:xfrm>
            <a:off x="2555930" y="249956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E9BE3E2B-F5CF-5C25-5431-729EC9BD04E8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1762343" y="3796155"/>
            <a:ext cx="183942" cy="183952"/>
          </a:xfrm>
          <a:prstGeom prst="ellipse">
            <a:avLst/>
          </a:prstGeom>
          <a:noFill/>
          <a:ln w="25400">
            <a:solidFill>
              <a:schemeClr val="bg1"/>
            </a:solidFill>
            <a:prstDash val="dash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D098B9B-316A-5920-4C71-9B26B6AE3EDD}"/>
              </a:ext>
            </a:extLst>
          </p:cNvPr>
          <p:cNvSpPr>
            <a:spLocks noGrp="1"/>
          </p:cNvSpPr>
          <p:nvPr>
            <p:ph type="body" sz="quarter" idx="142" hasCustomPrompt="1"/>
          </p:nvPr>
        </p:nvSpPr>
        <p:spPr>
          <a:xfrm>
            <a:off x="4137170" y="3796155"/>
            <a:ext cx="183942" cy="183952"/>
          </a:xfrm>
          <a:prstGeom prst="ellipse">
            <a:avLst/>
          </a:prstGeom>
          <a:noFill/>
          <a:ln w="2540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3FC1E0C-8F62-52DD-77C4-778FC9BF9C6C}"/>
              </a:ext>
            </a:extLst>
          </p:cNvPr>
          <p:cNvCxnSpPr/>
          <p:nvPr/>
        </p:nvCxnSpPr>
        <p:spPr>
          <a:xfrm>
            <a:off x="190407" y="362014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38AE4AE-5481-84CF-4EE6-11197BEC16B4}"/>
              </a:ext>
            </a:extLst>
          </p:cNvPr>
          <p:cNvCxnSpPr/>
          <p:nvPr/>
        </p:nvCxnSpPr>
        <p:spPr>
          <a:xfrm>
            <a:off x="2555930" y="362014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090E31A9-64D9-C36F-9565-5AA7D20C0653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204025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50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9889A8A7-BEE3-A110-4BC4-06BF9762AB8A}"/>
              </a:ext>
            </a:extLst>
          </p:cNvPr>
          <p:cNvSpPr>
            <a:spLocks noGrp="1"/>
          </p:cNvSpPr>
          <p:nvPr>
            <p:ph type="body" sz="quarter" idx="147" hasCustomPrompt="1"/>
          </p:nvPr>
        </p:nvSpPr>
        <p:spPr>
          <a:xfrm>
            <a:off x="2544978" y="3027216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Регионы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66FB9D82-92D3-0166-0129-BCCFA7A3B8B6}"/>
              </a:ext>
            </a:extLst>
          </p:cNvPr>
          <p:cNvSpPr>
            <a:spLocks noGrp="1"/>
          </p:cNvSpPr>
          <p:nvPr>
            <p:ph type="body" sz="quarter" idx="148" hasCustomPrompt="1"/>
          </p:nvPr>
        </p:nvSpPr>
        <p:spPr>
          <a:xfrm>
            <a:off x="2538827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5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009DB30C-DB8F-A70F-8023-ACBFC5CF4D19}"/>
              </a:ext>
            </a:extLst>
          </p:cNvPr>
          <p:cNvSpPr>
            <a:spLocks noGrp="1"/>
          </p:cNvSpPr>
          <p:nvPr>
            <p:ph type="body" sz="quarter" idx="149" hasCustomPrompt="1"/>
          </p:nvPr>
        </p:nvSpPr>
        <p:spPr>
          <a:xfrm>
            <a:off x="210177" y="4149697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Ленобласть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0899385A-EB69-B2E9-CF55-ABD78EF3FED5}"/>
              </a:ext>
            </a:extLst>
          </p:cNvPr>
          <p:cNvSpPr>
            <a:spLocks noGrp="1"/>
          </p:cNvSpPr>
          <p:nvPr>
            <p:ph type="body" sz="quarter" idx="150" hasCustomPrompt="1"/>
          </p:nvPr>
        </p:nvSpPr>
        <p:spPr>
          <a:xfrm>
            <a:off x="204025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50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3D758A74-B7B7-0682-FCCE-215BAB7DC86A}"/>
              </a:ext>
            </a:extLst>
          </p:cNvPr>
          <p:cNvSpPr>
            <a:spLocks noGrp="1"/>
          </p:cNvSpPr>
          <p:nvPr>
            <p:ph type="body" sz="quarter" idx="151" hasCustomPrompt="1"/>
          </p:nvPr>
        </p:nvSpPr>
        <p:spPr>
          <a:xfrm>
            <a:off x="2544978" y="4149697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48" name="Text Placeholder 14">
            <a:extLst>
              <a:ext uri="{FF2B5EF4-FFF2-40B4-BE49-F238E27FC236}">
                <a16:creationId xmlns:a16="http://schemas.microsoft.com/office/drawing/2014/main" id="{B33A0258-F626-2F7B-FABC-5ADE1138CB11}"/>
              </a:ext>
            </a:extLst>
          </p:cNvPr>
          <p:cNvSpPr>
            <a:spLocks noGrp="1"/>
          </p:cNvSpPr>
          <p:nvPr>
            <p:ph type="body" sz="quarter" idx="152" hasCustomPrompt="1"/>
          </p:nvPr>
        </p:nvSpPr>
        <p:spPr>
          <a:xfrm>
            <a:off x="2538827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5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52" name="Chart Placeholder 10">
            <a:extLst>
              <a:ext uri="{FF2B5EF4-FFF2-40B4-BE49-F238E27FC236}">
                <a16:creationId xmlns:a16="http://schemas.microsoft.com/office/drawing/2014/main" id="{CAA6DEBB-1DAF-B5CF-6A53-87D9FF94C8B7}"/>
              </a:ext>
            </a:extLst>
          </p:cNvPr>
          <p:cNvSpPr>
            <a:spLocks noGrp="1"/>
          </p:cNvSpPr>
          <p:nvPr>
            <p:ph type="chart" sz="quarter" idx="153" hasCustomPrompt="1"/>
          </p:nvPr>
        </p:nvSpPr>
        <p:spPr>
          <a:xfrm>
            <a:off x="6096000" y="3803220"/>
            <a:ext cx="2946450" cy="29015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317"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802EF5D0-0027-697D-21E9-B783885016D9}"/>
              </a:ext>
            </a:extLst>
          </p:cNvPr>
          <p:cNvSpPr>
            <a:spLocks noGrp="1"/>
          </p:cNvSpPr>
          <p:nvPr>
            <p:ph type="body" sz="quarter" idx="154" hasCustomPrompt="1"/>
          </p:nvPr>
        </p:nvSpPr>
        <p:spPr>
          <a:xfrm>
            <a:off x="6233457" y="3918141"/>
            <a:ext cx="2671537" cy="2671682"/>
          </a:xfrm>
          <a:prstGeom prst="ellipse">
            <a:avLst/>
          </a:prstGeom>
          <a:solidFill>
            <a:srgbClr val="2A2A2A"/>
          </a:solidFill>
          <a:ln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54" name="Text Placeholder 28">
            <a:extLst>
              <a:ext uri="{FF2B5EF4-FFF2-40B4-BE49-F238E27FC236}">
                <a16:creationId xmlns:a16="http://schemas.microsoft.com/office/drawing/2014/main" id="{A0C6E700-3D90-9BE5-84B0-4E85E79C754C}"/>
              </a:ext>
            </a:extLst>
          </p:cNvPr>
          <p:cNvSpPr>
            <a:spLocks noGrp="1"/>
          </p:cNvSpPr>
          <p:nvPr>
            <p:ph type="body" sz="quarter" idx="155" hasCustomPrompt="1"/>
          </p:nvPr>
        </p:nvSpPr>
        <p:spPr>
          <a:xfrm>
            <a:off x="6670776" y="4839167"/>
            <a:ext cx="1805427" cy="82963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2352" b="0" i="0" cap="all" baseline="0">
                <a:solidFill>
                  <a:schemeClr val="accent2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en-US" dirty="0"/>
              <a:t>KION</a:t>
            </a:r>
            <a:endParaRPr lang="en-RU" dirty="0"/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0C98D257-B2D4-46F0-43A8-3A5E676BD699}"/>
              </a:ext>
            </a:extLst>
          </p:cNvPr>
          <p:cNvSpPr>
            <a:spLocks noGrp="1"/>
          </p:cNvSpPr>
          <p:nvPr>
            <p:ph type="body" sz="quarter" idx="156" hasCustomPrompt="1"/>
          </p:nvPr>
        </p:nvSpPr>
        <p:spPr>
          <a:xfrm>
            <a:off x="7508627" y="3827322"/>
            <a:ext cx="121196" cy="121202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3F55A5E9-4191-FFFA-C424-E0ADC7C7A389}"/>
              </a:ext>
            </a:extLst>
          </p:cNvPr>
          <p:cNvSpPr>
            <a:spLocks noGrp="1"/>
          </p:cNvSpPr>
          <p:nvPr>
            <p:ph type="body" sz="quarter" idx="157" hasCustomPrompt="1"/>
          </p:nvPr>
        </p:nvSpPr>
        <p:spPr>
          <a:xfrm>
            <a:off x="6128472" y="5162615"/>
            <a:ext cx="121196" cy="121202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DB906079-5DE5-8364-8DCE-1FC003D3E9DC}"/>
              </a:ext>
            </a:extLst>
          </p:cNvPr>
          <p:cNvSpPr>
            <a:spLocks noGrp="1"/>
          </p:cNvSpPr>
          <p:nvPr>
            <p:ph type="body" sz="quarter" idx="158" hasCustomPrompt="1"/>
          </p:nvPr>
        </p:nvSpPr>
        <p:spPr>
          <a:xfrm>
            <a:off x="8875945" y="5374465"/>
            <a:ext cx="121196" cy="121202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58" name="Chart Placeholder 10">
            <a:extLst>
              <a:ext uri="{FF2B5EF4-FFF2-40B4-BE49-F238E27FC236}">
                <a16:creationId xmlns:a16="http://schemas.microsoft.com/office/drawing/2014/main" id="{A58B41D0-B08E-D575-F2E1-15D29EDC3621}"/>
              </a:ext>
            </a:extLst>
          </p:cNvPr>
          <p:cNvSpPr>
            <a:spLocks noGrp="1"/>
          </p:cNvSpPr>
          <p:nvPr>
            <p:ph type="chart" sz="quarter" idx="159" hasCustomPrompt="1"/>
          </p:nvPr>
        </p:nvSpPr>
        <p:spPr>
          <a:xfrm>
            <a:off x="9106665" y="761668"/>
            <a:ext cx="2946450" cy="29015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317"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CDE09F8A-1756-1649-EC03-0EF17F7FBAF1}"/>
              </a:ext>
            </a:extLst>
          </p:cNvPr>
          <p:cNvSpPr>
            <a:spLocks noGrp="1"/>
          </p:cNvSpPr>
          <p:nvPr>
            <p:ph type="body" sz="quarter" idx="160" hasCustomPrompt="1"/>
          </p:nvPr>
        </p:nvSpPr>
        <p:spPr>
          <a:xfrm>
            <a:off x="9244122" y="876589"/>
            <a:ext cx="2671537" cy="2671682"/>
          </a:xfrm>
          <a:prstGeom prst="ellipse">
            <a:avLst/>
          </a:prstGeom>
          <a:solidFill>
            <a:srgbClr val="2A2A2A"/>
          </a:solidFill>
          <a:ln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0" name="Text Placeholder 28">
            <a:extLst>
              <a:ext uri="{FF2B5EF4-FFF2-40B4-BE49-F238E27FC236}">
                <a16:creationId xmlns:a16="http://schemas.microsoft.com/office/drawing/2014/main" id="{0BAF2972-F22C-9082-8163-17D10D834790}"/>
              </a:ext>
            </a:extLst>
          </p:cNvPr>
          <p:cNvSpPr>
            <a:spLocks noGrp="1"/>
          </p:cNvSpPr>
          <p:nvPr>
            <p:ph type="body" sz="quarter" idx="161" hasCustomPrompt="1"/>
          </p:nvPr>
        </p:nvSpPr>
        <p:spPr>
          <a:xfrm>
            <a:off x="9681441" y="1797615"/>
            <a:ext cx="1805427" cy="82963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2352" b="0" i="0" cap="none" baseline="0">
                <a:solidFill>
                  <a:schemeClr val="accent1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en-US" dirty="0"/>
              <a:t>Telecom</a:t>
            </a:r>
            <a:endParaRPr lang="en-RU" dirty="0"/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5C0F6D94-16F0-4972-9B69-A7EEB3F1DB74}"/>
              </a:ext>
            </a:extLst>
          </p:cNvPr>
          <p:cNvSpPr>
            <a:spLocks noGrp="1"/>
          </p:cNvSpPr>
          <p:nvPr>
            <p:ph type="body" sz="quarter" idx="162" hasCustomPrompt="1"/>
          </p:nvPr>
        </p:nvSpPr>
        <p:spPr>
          <a:xfrm>
            <a:off x="10519292" y="785770"/>
            <a:ext cx="121196" cy="121202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3C5B8ED4-1872-D1E8-6656-CCD805F3E881}"/>
              </a:ext>
            </a:extLst>
          </p:cNvPr>
          <p:cNvSpPr>
            <a:spLocks noGrp="1"/>
          </p:cNvSpPr>
          <p:nvPr>
            <p:ph type="body" sz="quarter" idx="163" hasCustomPrompt="1"/>
          </p:nvPr>
        </p:nvSpPr>
        <p:spPr>
          <a:xfrm>
            <a:off x="9139137" y="2121063"/>
            <a:ext cx="121196" cy="121202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797541E3-0298-F80D-94B1-15DDD50B5DD9}"/>
              </a:ext>
            </a:extLst>
          </p:cNvPr>
          <p:cNvSpPr>
            <a:spLocks noGrp="1"/>
          </p:cNvSpPr>
          <p:nvPr>
            <p:ph type="body" sz="quarter" idx="164" hasCustomPrompt="1"/>
          </p:nvPr>
        </p:nvSpPr>
        <p:spPr>
          <a:xfrm>
            <a:off x="11886610" y="2332913"/>
            <a:ext cx="121196" cy="121202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4" name="Chart Placeholder 10">
            <a:extLst>
              <a:ext uri="{FF2B5EF4-FFF2-40B4-BE49-F238E27FC236}">
                <a16:creationId xmlns:a16="http://schemas.microsoft.com/office/drawing/2014/main" id="{B1AD0434-0D25-250C-521F-A42FF1D24C19}"/>
              </a:ext>
            </a:extLst>
          </p:cNvPr>
          <p:cNvSpPr>
            <a:spLocks noGrp="1"/>
          </p:cNvSpPr>
          <p:nvPr>
            <p:ph type="chart" sz="quarter" idx="165" hasCustomPrompt="1"/>
          </p:nvPr>
        </p:nvSpPr>
        <p:spPr>
          <a:xfrm>
            <a:off x="9106665" y="3803220"/>
            <a:ext cx="2946450" cy="29015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317"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7BA43012-BCC9-9307-002D-2CA3D4901807}"/>
              </a:ext>
            </a:extLst>
          </p:cNvPr>
          <p:cNvSpPr>
            <a:spLocks noGrp="1"/>
          </p:cNvSpPr>
          <p:nvPr>
            <p:ph type="body" sz="quarter" idx="166" hasCustomPrompt="1"/>
          </p:nvPr>
        </p:nvSpPr>
        <p:spPr>
          <a:xfrm>
            <a:off x="9244122" y="3918141"/>
            <a:ext cx="2671537" cy="2671682"/>
          </a:xfrm>
          <a:prstGeom prst="ellipse">
            <a:avLst/>
          </a:prstGeom>
          <a:solidFill>
            <a:srgbClr val="2A2A2A"/>
          </a:solidFill>
          <a:ln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6" name="Text Placeholder 28">
            <a:extLst>
              <a:ext uri="{FF2B5EF4-FFF2-40B4-BE49-F238E27FC236}">
                <a16:creationId xmlns:a16="http://schemas.microsoft.com/office/drawing/2014/main" id="{592DE6E3-C4F8-A5C9-C525-217D2B667E25}"/>
              </a:ext>
            </a:extLst>
          </p:cNvPr>
          <p:cNvSpPr>
            <a:spLocks noGrp="1"/>
          </p:cNvSpPr>
          <p:nvPr>
            <p:ph type="body" sz="quarter" idx="167" hasCustomPrompt="1"/>
          </p:nvPr>
        </p:nvSpPr>
        <p:spPr>
          <a:xfrm>
            <a:off x="9681441" y="4839167"/>
            <a:ext cx="1805427" cy="82963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2352" b="0" i="0" cap="none" baseline="0">
                <a:solidFill>
                  <a:schemeClr val="accent4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en-US" dirty="0"/>
              <a:t>Telecom</a:t>
            </a:r>
            <a:endParaRPr lang="en-RU" dirty="0"/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13784C88-499A-9D54-7198-B88F7EAE6A3F}"/>
              </a:ext>
            </a:extLst>
          </p:cNvPr>
          <p:cNvSpPr>
            <a:spLocks noGrp="1"/>
          </p:cNvSpPr>
          <p:nvPr>
            <p:ph type="body" sz="quarter" idx="168" hasCustomPrompt="1"/>
          </p:nvPr>
        </p:nvSpPr>
        <p:spPr>
          <a:xfrm>
            <a:off x="10519292" y="3827322"/>
            <a:ext cx="121196" cy="121202"/>
          </a:xfrm>
          <a:prstGeom prst="ellipse">
            <a:avLst/>
          </a:prstGeom>
          <a:solidFill>
            <a:schemeClr val="accent4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81FFF66D-E867-0CFB-B6B9-DD57FDB0AF4E}"/>
              </a:ext>
            </a:extLst>
          </p:cNvPr>
          <p:cNvSpPr>
            <a:spLocks noGrp="1"/>
          </p:cNvSpPr>
          <p:nvPr>
            <p:ph type="body" sz="quarter" idx="169" hasCustomPrompt="1"/>
          </p:nvPr>
        </p:nvSpPr>
        <p:spPr>
          <a:xfrm>
            <a:off x="9139137" y="5162615"/>
            <a:ext cx="121196" cy="121202"/>
          </a:xfrm>
          <a:prstGeom prst="ellipse">
            <a:avLst/>
          </a:prstGeom>
          <a:solidFill>
            <a:schemeClr val="accent4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F2A3B846-58C9-1220-A33B-28C6CB18D855}"/>
              </a:ext>
            </a:extLst>
          </p:cNvPr>
          <p:cNvSpPr>
            <a:spLocks noGrp="1"/>
          </p:cNvSpPr>
          <p:nvPr>
            <p:ph type="body" sz="quarter" idx="170" hasCustomPrompt="1"/>
          </p:nvPr>
        </p:nvSpPr>
        <p:spPr>
          <a:xfrm>
            <a:off x="11886610" y="5374465"/>
            <a:ext cx="121196" cy="121202"/>
          </a:xfrm>
          <a:prstGeom prst="ellipse">
            <a:avLst/>
          </a:prstGeom>
          <a:solidFill>
            <a:schemeClr val="accent4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12519221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рупное изображение 3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2E810EA-130E-D38D-90D5-2DEEE8A7A574}"/>
              </a:ext>
            </a:extLst>
          </p:cNvPr>
          <p:cNvGrpSpPr/>
          <p:nvPr/>
        </p:nvGrpSpPr>
        <p:grpSpPr>
          <a:xfrm>
            <a:off x="11421840" y="-374"/>
            <a:ext cx="770446" cy="770488"/>
            <a:chOff x="21540108" y="558527"/>
            <a:chExt cx="1638000" cy="163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B9E1C45-1966-8660-81ED-80CCCFAF56E3}"/>
                </a:ext>
              </a:extLst>
            </p:cNvPr>
            <p:cNvSpPr/>
            <p:nvPr/>
          </p:nvSpPr>
          <p:spPr>
            <a:xfrm>
              <a:off x="21540108" y="558527"/>
              <a:ext cx="1638000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27B7C37-20AB-3CBD-82FF-2E062148989F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2E46905-2EE1-1569-B48C-DB7A10F55989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A10C9C7B-13DD-F105-275F-8B3DA427AA9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9F797E6-DB5F-4C66-15A1-C1E1E83463D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5920700"/>
              <a:gd name="connsiteY0" fmla="*/ 0 h 14579600"/>
              <a:gd name="connsiteX1" fmla="*/ 24282700 w 25920700"/>
              <a:gd name="connsiteY1" fmla="*/ 0 h 14579600"/>
              <a:gd name="connsiteX2" fmla="*/ 24282700 w 25920700"/>
              <a:gd name="connsiteY2" fmla="*/ 1638000 h 14579600"/>
              <a:gd name="connsiteX3" fmla="*/ 25920700 w 25920700"/>
              <a:gd name="connsiteY3" fmla="*/ 1638000 h 14579600"/>
              <a:gd name="connsiteX4" fmla="*/ 25920700 w 25920700"/>
              <a:gd name="connsiteY4" fmla="*/ 14579600 h 14579600"/>
              <a:gd name="connsiteX5" fmla="*/ 6659565 w 25920700"/>
              <a:gd name="connsiteY5" fmla="*/ 14579600 h 14579600"/>
              <a:gd name="connsiteX6" fmla="*/ 6659565 w 25920700"/>
              <a:gd name="connsiteY6" fmla="*/ 7920038 h 14579600"/>
              <a:gd name="connsiteX7" fmla="*/ 0 w 25920700"/>
              <a:gd name="connsiteY7" fmla="*/ 7920038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20700" h="14579600">
                <a:moveTo>
                  <a:pt x="0" y="0"/>
                </a:moveTo>
                <a:lnTo>
                  <a:pt x="24282700" y="0"/>
                </a:lnTo>
                <a:lnTo>
                  <a:pt x="24282700" y="1638000"/>
                </a:lnTo>
                <a:lnTo>
                  <a:pt x="25920700" y="1638000"/>
                </a:lnTo>
                <a:lnTo>
                  <a:pt x="25920700" y="14579600"/>
                </a:lnTo>
                <a:lnTo>
                  <a:pt x="6659565" y="14579600"/>
                </a:lnTo>
                <a:lnTo>
                  <a:pt x="6659565" y="7920038"/>
                </a:lnTo>
                <a:lnTo>
                  <a:pt x="0" y="7920038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BFF8568-4BEB-4CA2-34AF-08726490A300}"/>
              </a:ext>
            </a:extLst>
          </p:cNvPr>
          <p:cNvSpPr/>
          <p:nvPr/>
        </p:nvSpPr>
        <p:spPr>
          <a:xfrm>
            <a:off x="0" y="3725247"/>
            <a:ext cx="3132582" cy="31327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00B61A1-B320-9C76-23BF-0D5EE402F5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83988" y="148976"/>
            <a:ext cx="578386" cy="181885"/>
          </a:xfrm>
          <a:prstGeom prst="rect">
            <a:avLst/>
          </a:prstGeom>
        </p:spPr>
        <p:txBody>
          <a:bodyPr lIns="0" tIns="0" rIns="0" bIns="0"/>
          <a:lstStyle>
            <a:lvl1pPr>
              <a:defRPr sz="988" b="0" i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fld id="{1B200421-228B-BD43-9045-8FEDD241C1B1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10DAF752-2844-AB5E-AB61-F0948E213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7" name="Picture Placeholder 25">
            <a:extLst>
              <a:ext uri="{FF2B5EF4-FFF2-40B4-BE49-F238E27FC236}">
                <a16:creationId xmlns:a16="http://schemas.microsoft.com/office/drawing/2014/main" id="{F57A500F-AA16-4C97-A16D-2B4239A3A70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B2FAF9E9-AF4C-E10E-795F-64809B3D14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0407" y="3926048"/>
            <a:ext cx="2697374" cy="23413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ини-описание того, </a:t>
            </a:r>
            <a:br>
              <a:rPr lang="ru-RU" dirty="0"/>
            </a:br>
            <a:r>
              <a:rPr lang="ru-RU" dirty="0"/>
              <a:t>что это за фото, и зачем </a:t>
            </a:r>
            <a:br>
              <a:rPr lang="ru-RU" dirty="0"/>
            </a:br>
            <a:r>
              <a:rPr lang="ru-RU" dirty="0"/>
              <a:t>мы его показываем.</a:t>
            </a:r>
            <a:endParaRPr lang="en-RU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039B339-0A67-CD81-A917-EF8162D3992C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Picture Placeholder 25">
            <a:extLst>
              <a:ext uri="{FF2B5EF4-FFF2-40B4-BE49-F238E27FC236}">
                <a16:creationId xmlns:a16="http://schemas.microsoft.com/office/drawing/2014/main" id="{476F8D46-1A29-77DF-03FF-27AE1750D5E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800233021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761669"/>
            <a:ext cx="5905593" cy="581554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52014F-D39D-CB66-FF31-2338DEDF8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CD756BA-76A7-3A0C-999D-C7F2F6AB268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FE294E8-AA2C-765E-DFA3-D7540F9A4DE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B94C341-45FF-2557-437C-D0571A816179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3B0F0FFB-19A0-EC2E-E8C5-EDFA02AD7DAD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F1A61CC-5800-7780-CF6E-EE9FA6B2CFA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3D10494-6E86-5267-0F01-EFEAE8C28F2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" name="Title 25">
            <a:extLst>
              <a:ext uri="{FF2B5EF4-FFF2-40B4-BE49-F238E27FC236}">
                <a16:creationId xmlns:a16="http://schemas.microsoft.com/office/drawing/2014/main" id="{97D570E6-D5E0-0FAA-9572-4031E9A1A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5303778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Более 70% населения Москвы пользуются услугами МТС.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0A5058A-6D6D-1B58-6FE8-67BCF5F050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0177" y="3027216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осква и Московская область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8D58B2F-E633-3701-D47A-A9E65D9462C4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1762343" y="2675575"/>
            <a:ext cx="183942" cy="183952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3AE944E-0901-159A-860B-5B9C66777A0A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4137170" y="2675575"/>
            <a:ext cx="183942" cy="183952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noFill/>
            <a:prstDash val="lgDash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806B9A4-FB9D-8E7A-EE87-232F051E1DF3}"/>
              </a:ext>
            </a:extLst>
          </p:cNvPr>
          <p:cNvCxnSpPr/>
          <p:nvPr/>
        </p:nvCxnSpPr>
        <p:spPr>
          <a:xfrm>
            <a:off x="190407" y="249956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A20B53-856E-0442-6A43-75E28CBF9C4B}"/>
              </a:ext>
            </a:extLst>
          </p:cNvPr>
          <p:cNvCxnSpPr/>
          <p:nvPr/>
        </p:nvCxnSpPr>
        <p:spPr>
          <a:xfrm>
            <a:off x="2555930" y="249956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C635CB80-CEB1-FBAE-319F-0204642CC30C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1762343" y="3796155"/>
            <a:ext cx="183942" cy="18395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5400">
            <a:noFill/>
            <a:prstDash val="dash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806DBB8-7480-7C08-F1D2-4166117CBD1D}"/>
              </a:ext>
            </a:extLst>
          </p:cNvPr>
          <p:cNvSpPr>
            <a:spLocks noGrp="1"/>
          </p:cNvSpPr>
          <p:nvPr>
            <p:ph type="body" sz="quarter" idx="142" hasCustomPrompt="1"/>
          </p:nvPr>
        </p:nvSpPr>
        <p:spPr>
          <a:xfrm>
            <a:off x="4137170" y="3796155"/>
            <a:ext cx="183942" cy="18395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noFill/>
            <a:prstDash val="solid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A147CD8-09A7-2126-E996-01EA84C38831}"/>
              </a:ext>
            </a:extLst>
          </p:cNvPr>
          <p:cNvCxnSpPr/>
          <p:nvPr/>
        </p:nvCxnSpPr>
        <p:spPr>
          <a:xfrm>
            <a:off x="190407" y="362014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5D64BC-148C-2425-DFAF-E0C32B0E49EA}"/>
              </a:ext>
            </a:extLst>
          </p:cNvPr>
          <p:cNvCxnSpPr/>
          <p:nvPr/>
        </p:nvCxnSpPr>
        <p:spPr>
          <a:xfrm>
            <a:off x="2555930" y="3620140"/>
            <a:ext cx="1761449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9ECA1400-166D-FBE6-69FB-16229F3369BA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204025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50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FF222637-8C12-6F9C-E5B3-D3C6C57D3B70}"/>
              </a:ext>
            </a:extLst>
          </p:cNvPr>
          <p:cNvSpPr>
            <a:spLocks noGrp="1"/>
          </p:cNvSpPr>
          <p:nvPr>
            <p:ph type="body" sz="quarter" idx="147" hasCustomPrompt="1"/>
          </p:nvPr>
        </p:nvSpPr>
        <p:spPr>
          <a:xfrm>
            <a:off x="2544978" y="3027216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Регионы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7DC08D06-6AA4-53FE-5BD8-41AB083F5384}"/>
              </a:ext>
            </a:extLst>
          </p:cNvPr>
          <p:cNvSpPr>
            <a:spLocks noGrp="1"/>
          </p:cNvSpPr>
          <p:nvPr>
            <p:ph type="body" sz="quarter" idx="148" hasCustomPrompt="1"/>
          </p:nvPr>
        </p:nvSpPr>
        <p:spPr>
          <a:xfrm>
            <a:off x="2538827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5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B33470A9-9275-47BB-94F0-9F9B4842EB10}"/>
              </a:ext>
            </a:extLst>
          </p:cNvPr>
          <p:cNvSpPr>
            <a:spLocks noGrp="1"/>
          </p:cNvSpPr>
          <p:nvPr>
            <p:ph type="body" sz="quarter" idx="149" hasCustomPrompt="1"/>
          </p:nvPr>
        </p:nvSpPr>
        <p:spPr>
          <a:xfrm>
            <a:off x="210177" y="4149697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Ленобласть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0B9DA084-D737-A91F-3450-4AB252FDF571}"/>
              </a:ext>
            </a:extLst>
          </p:cNvPr>
          <p:cNvSpPr>
            <a:spLocks noGrp="1"/>
          </p:cNvSpPr>
          <p:nvPr>
            <p:ph type="body" sz="quarter" idx="150" hasCustomPrompt="1"/>
          </p:nvPr>
        </p:nvSpPr>
        <p:spPr>
          <a:xfrm>
            <a:off x="204025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50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7EE6216C-5A35-8A43-DFC9-9145D0DA46E5}"/>
              </a:ext>
            </a:extLst>
          </p:cNvPr>
          <p:cNvSpPr>
            <a:spLocks noGrp="1"/>
          </p:cNvSpPr>
          <p:nvPr>
            <p:ph type="body" sz="quarter" idx="151" hasCustomPrompt="1"/>
          </p:nvPr>
        </p:nvSpPr>
        <p:spPr>
          <a:xfrm>
            <a:off x="2544978" y="4149697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98CC07F6-6B6A-B5F5-0F3D-EB3F855B35F7}"/>
              </a:ext>
            </a:extLst>
          </p:cNvPr>
          <p:cNvSpPr>
            <a:spLocks noGrp="1"/>
          </p:cNvSpPr>
          <p:nvPr>
            <p:ph type="body" sz="quarter" idx="152" hasCustomPrompt="1"/>
          </p:nvPr>
        </p:nvSpPr>
        <p:spPr>
          <a:xfrm>
            <a:off x="2538827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5</a:t>
            </a:r>
            <a:r>
              <a:rPr lang="en-US" dirty="0"/>
              <a:t>%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7920990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A6149-122D-7A14-2AB6-5EB3D4C18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371C55-15DF-941E-8C8D-1EBB588343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3E9CB17B-066C-BBE4-A8A2-BE1A9CCAC5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F911378-1BBC-64E8-E839-E4E63372C657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40BADB3-200F-4527-3BC2-A0488C0FBE0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E15D5B3F-FD2E-F294-EB65-00B62149821A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31EBB512-DD1B-9F09-D765-782FCC8B6AEE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A6367331-06A6-E2F0-D460-2DDC28A46694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DBB9AD2-6A8D-AB1A-591D-F5EA102D45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C80B1A9-9ABB-8D55-19D2-29806F8DEE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A46B5E1-FA61-1995-2669-E4C90EFD0B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09E260A5-506E-7641-8463-F04273E1F3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520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A8A7F279-5724-E84E-339C-995BBD01A3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4520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22CAA125-67EB-C6D3-71E9-9EE66C4664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70338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6EFC5BBC-0FF1-338A-00CF-FB936BC04D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70338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3777F3B6-9D67-86F3-ABF7-4C15691D19A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90109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7AB228CD-4D8C-A10F-0A5C-888837C0483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0109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1FDFFAE-0B97-B77D-2B44-669A8D302AA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0567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0D28C0C4-BC1F-38D2-E5C5-3EB3382738D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50567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87FF090A-8795-BD80-5976-1A20274FC7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30795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CF00253-E1D9-9A22-EA90-897E0998900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30795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7432110-13EA-EB99-5F95-2A017A267AC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11024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24AA2FE2-DB96-AB8F-683E-D43DD4D210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211025" y="2229637"/>
            <a:ext cx="1790569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692697FE-A5EF-25DF-1969-FDA6EC001DB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49576" y="5426930"/>
            <a:ext cx="2963624" cy="9172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 2024 году планируем выйти </a:t>
            </a:r>
            <a:br>
              <a:rPr lang="ru-RU" dirty="0"/>
            </a:br>
            <a:r>
              <a:rPr lang="ru-RU" dirty="0"/>
              <a:t>на рынок Азии и повысить </a:t>
            </a:r>
            <a:r>
              <a:rPr lang="en-GB" dirty="0"/>
              <a:t>KPI </a:t>
            </a:r>
            <a:br>
              <a:rPr lang="ru-RU" dirty="0"/>
            </a:br>
            <a:r>
              <a:rPr lang="ru-RU" dirty="0"/>
              <a:t>на 30%.</a:t>
            </a:r>
            <a:endParaRPr lang="en-RU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9212BF7B-9D1A-AAAE-63A8-A7DFCF2F252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94519" y="2921097"/>
            <a:ext cx="1023716" cy="1023772"/>
          </a:xfrm>
          <a:prstGeom prst="ellipse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19</a:t>
            </a:r>
            <a:endParaRPr lang="en-RU" dirty="0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00E6222-5C47-E874-75F2-88ACCA223CE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290109" y="2921097"/>
            <a:ext cx="1023716" cy="1023772"/>
          </a:xfrm>
          <a:prstGeom prst="ellipse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0</a:t>
            </a:r>
            <a:endParaRPr lang="en-RU" dirty="0"/>
          </a:p>
        </p:txBody>
      </p:sp>
      <p:sp>
        <p:nvSpPr>
          <p:cNvPr id="40" name="Text Placeholder 36">
            <a:extLst>
              <a:ext uri="{FF2B5EF4-FFF2-40B4-BE49-F238E27FC236}">
                <a16:creationId xmlns:a16="http://schemas.microsoft.com/office/drawing/2014/main" id="{6CFB39BC-450C-4B5D-6926-D17F638292A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0338" y="2921097"/>
            <a:ext cx="1023716" cy="1023772"/>
          </a:xfrm>
          <a:prstGeom prst="ellipse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1</a:t>
            </a:r>
            <a:endParaRPr lang="en-RU" dirty="0"/>
          </a:p>
        </p:txBody>
      </p:sp>
      <p:sp>
        <p:nvSpPr>
          <p:cNvPr id="41" name="Text Placeholder 36">
            <a:extLst>
              <a:ext uri="{FF2B5EF4-FFF2-40B4-BE49-F238E27FC236}">
                <a16:creationId xmlns:a16="http://schemas.microsoft.com/office/drawing/2014/main" id="{EE27E97D-A741-8573-74DD-7B31353B37C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50566" y="2921097"/>
            <a:ext cx="1023716" cy="1023772"/>
          </a:xfrm>
          <a:prstGeom prst="ellipse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2</a:t>
            </a:r>
            <a:endParaRPr lang="en-RU" dirty="0"/>
          </a:p>
        </p:txBody>
      </p:sp>
      <p:sp>
        <p:nvSpPr>
          <p:cNvPr id="42" name="Text Placeholder 36">
            <a:extLst>
              <a:ext uri="{FF2B5EF4-FFF2-40B4-BE49-F238E27FC236}">
                <a16:creationId xmlns:a16="http://schemas.microsoft.com/office/drawing/2014/main" id="{EC19E6BC-9BE4-AAD1-26F9-0B048E4C5DE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230795" y="2921097"/>
            <a:ext cx="1023716" cy="1023772"/>
          </a:xfrm>
          <a:prstGeom prst="ellipse">
            <a:avLst/>
          </a:prstGeom>
          <a:solidFill>
            <a:schemeClr val="accent3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3</a:t>
            </a:r>
            <a:endParaRPr lang="en-RU" dirty="0"/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1DF22A9F-A8D1-3219-A9DD-EE9BA4B730F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211024" y="2921097"/>
            <a:ext cx="1023716" cy="1023772"/>
          </a:xfrm>
          <a:prstGeom prst="ellipse">
            <a:avLst/>
          </a:prstGeom>
          <a:solidFill>
            <a:schemeClr val="accent3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4</a:t>
            </a:r>
            <a:endParaRPr lang="en-RU" dirty="0"/>
          </a:p>
        </p:txBody>
      </p:sp>
      <p:sp>
        <p:nvSpPr>
          <p:cNvPr id="51" name="Freeform 50">
            <a:extLst>
              <a:ext uri="{FF2B5EF4-FFF2-40B4-BE49-F238E27FC236}">
                <a16:creationId xmlns:a16="http://schemas.microsoft.com/office/drawing/2014/main" id="{8A4A3A03-B17D-4102-D610-5A8EFF44CD75}"/>
              </a:ext>
            </a:extLst>
          </p:cNvPr>
          <p:cNvSpPr/>
          <p:nvPr/>
        </p:nvSpPr>
        <p:spPr>
          <a:xfrm>
            <a:off x="190407" y="2835595"/>
            <a:ext cx="12036580" cy="1194774"/>
          </a:xfrm>
          <a:custGeom>
            <a:avLst/>
            <a:gdLst>
              <a:gd name="connsiteX0" fmla="*/ 0 w 25590270"/>
              <a:gd name="connsiteY0" fmla="*/ 1269999 h 2540000"/>
              <a:gd name="connsiteX1" fmla="*/ 0 w 25590270"/>
              <a:gd name="connsiteY1" fmla="*/ 1270000 h 2540000"/>
              <a:gd name="connsiteX2" fmla="*/ 0 w 25590270"/>
              <a:gd name="connsiteY2" fmla="*/ 1270000 h 2540000"/>
              <a:gd name="connsiteX3" fmla="*/ 1269999 w 25590270"/>
              <a:gd name="connsiteY3" fmla="*/ 0 h 2540000"/>
              <a:gd name="connsiteX4" fmla="*/ 25590270 w 25590270"/>
              <a:gd name="connsiteY4" fmla="*/ 0 h 2540000"/>
              <a:gd name="connsiteX5" fmla="*/ 25590270 w 25590270"/>
              <a:gd name="connsiteY5" fmla="*/ 2540000 h 2540000"/>
              <a:gd name="connsiteX6" fmla="*/ 1269999 w 25590270"/>
              <a:gd name="connsiteY6" fmla="*/ 2539999 h 2540000"/>
              <a:gd name="connsiteX7" fmla="*/ 25801 w 25590270"/>
              <a:gd name="connsiteY7" fmla="*/ 1525949 h 2540000"/>
              <a:gd name="connsiteX8" fmla="*/ 0 w 25590270"/>
              <a:gd name="connsiteY8" fmla="*/ 1270000 h 2540000"/>
              <a:gd name="connsiteX9" fmla="*/ 25801 w 25590270"/>
              <a:gd name="connsiteY9" fmla="*/ 1014051 h 2540000"/>
              <a:gd name="connsiteX10" fmla="*/ 1269999 w 25590270"/>
              <a:gd name="connsiteY10" fmla="*/ 0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590270" h="2540000">
                <a:moveTo>
                  <a:pt x="0" y="1269999"/>
                </a:moveTo>
                <a:lnTo>
                  <a:pt x="0" y="1270000"/>
                </a:lnTo>
                <a:lnTo>
                  <a:pt x="0" y="1270000"/>
                </a:lnTo>
                <a:close/>
                <a:moveTo>
                  <a:pt x="1269999" y="0"/>
                </a:moveTo>
                <a:lnTo>
                  <a:pt x="25590270" y="0"/>
                </a:lnTo>
                <a:lnTo>
                  <a:pt x="25590270" y="2540000"/>
                </a:lnTo>
                <a:lnTo>
                  <a:pt x="1269999" y="2539999"/>
                </a:lnTo>
                <a:cubicBezTo>
                  <a:pt x="656273" y="2539999"/>
                  <a:pt x="144224" y="2104666"/>
                  <a:pt x="25801" y="1525949"/>
                </a:cubicBezTo>
                <a:lnTo>
                  <a:pt x="0" y="1270000"/>
                </a:lnTo>
                <a:lnTo>
                  <a:pt x="25801" y="1014051"/>
                </a:lnTo>
                <a:cubicBezTo>
                  <a:pt x="144224" y="435333"/>
                  <a:pt x="656273" y="0"/>
                  <a:pt x="1269999" y="0"/>
                </a:cubicBezTo>
                <a:close/>
              </a:path>
            </a:pathLst>
          </a:cu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8369668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ma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A6149-122D-7A14-2AB6-5EB3D4C18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371C55-15DF-941E-8C8D-1EBB588343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3E9CB17B-066C-BBE4-A8A2-BE1A9CCAC5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F911378-1BBC-64E8-E839-E4E63372C657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40BADB3-200F-4527-3BC2-A0488C0FBE0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E15D5B3F-FD2E-F294-EB65-00B62149821A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31EBB512-DD1B-9F09-D765-782FCC8B6AEE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A6367331-06A6-E2F0-D460-2DDC28A46694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DBB9AD2-6A8D-AB1A-591D-F5EA102D45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C80B1A9-9ABB-8D55-19D2-29806F8DEE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A46B5E1-FA61-1995-2669-E4C90EFD0B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09E260A5-506E-7641-8463-F04273E1F3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520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A8A7F279-5724-E84E-339C-995BBD01A3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4520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22CAA125-67EB-C6D3-71E9-9EE66C4664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70338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6EFC5BBC-0FF1-338A-00CF-FB936BC04D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70338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3777F3B6-9D67-86F3-ABF7-4C15691D19A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90109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7AB228CD-4D8C-A10F-0A5C-888837C0483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0109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1FDFFAE-0B97-B77D-2B44-669A8D302AA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0567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0D28C0C4-BC1F-38D2-E5C5-3EB3382738D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50567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87FF090A-8795-BD80-5976-1A20274FC7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30795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CF00253-E1D9-9A22-EA90-897E0998900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30795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7432110-13EA-EB99-5F95-2A017A267AC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11024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24AA2FE2-DB96-AB8F-683E-D43DD4D210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211025" y="2229637"/>
            <a:ext cx="1790569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692697FE-A5EF-25DF-1969-FDA6EC001DB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49576" y="5426930"/>
            <a:ext cx="2963624" cy="9172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 2024 году планируем выйти </a:t>
            </a:r>
            <a:br>
              <a:rPr lang="ru-RU" dirty="0"/>
            </a:br>
            <a:r>
              <a:rPr lang="ru-RU" dirty="0"/>
              <a:t>на рынок Азии и повысить </a:t>
            </a:r>
            <a:r>
              <a:rPr lang="en-GB" dirty="0"/>
              <a:t>KPI </a:t>
            </a:r>
            <a:br>
              <a:rPr lang="ru-RU" dirty="0"/>
            </a:br>
            <a:r>
              <a:rPr lang="ru-RU" dirty="0"/>
              <a:t>на 30%.</a:t>
            </a:r>
            <a:endParaRPr lang="en-RU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9212BF7B-9D1A-AAAE-63A8-A7DFCF2F252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94519" y="2921221"/>
            <a:ext cx="1023716" cy="102377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19</a:t>
            </a:r>
            <a:endParaRPr lang="en-RU" dirty="0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00E6222-5C47-E874-75F2-88ACCA223CE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290109" y="2921221"/>
            <a:ext cx="1023716" cy="102377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0</a:t>
            </a:r>
            <a:endParaRPr lang="en-RU" dirty="0"/>
          </a:p>
        </p:txBody>
      </p:sp>
      <p:sp>
        <p:nvSpPr>
          <p:cNvPr id="40" name="Text Placeholder 36">
            <a:extLst>
              <a:ext uri="{FF2B5EF4-FFF2-40B4-BE49-F238E27FC236}">
                <a16:creationId xmlns:a16="http://schemas.microsoft.com/office/drawing/2014/main" id="{6CFB39BC-450C-4B5D-6926-D17F638292A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0338" y="2921221"/>
            <a:ext cx="1023716" cy="102377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1</a:t>
            </a:r>
            <a:endParaRPr lang="en-RU" dirty="0"/>
          </a:p>
        </p:txBody>
      </p:sp>
      <p:sp>
        <p:nvSpPr>
          <p:cNvPr id="41" name="Text Placeholder 36">
            <a:extLst>
              <a:ext uri="{FF2B5EF4-FFF2-40B4-BE49-F238E27FC236}">
                <a16:creationId xmlns:a16="http://schemas.microsoft.com/office/drawing/2014/main" id="{EE27E97D-A741-8573-74DD-7B31353B37C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50566" y="2921221"/>
            <a:ext cx="1023716" cy="102377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2</a:t>
            </a:r>
            <a:endParaRPr lang="en-RU" dirty="0"/>
          </a:p>
        </p:txBody>
      </p:sp>
      <p:sp>
        <p:nvSpPr>
          <p:cNvPr id="42" name="Text Placeholder 36">
            <a:extLst>
              <a:ext uri="{FF2B5EF4-FFF2-40B4-BE49-F238E27FC236}">
                <a16:creationId xmlns:a16="http://schemas.microsoft.com/office/drawing/2014/main" id="{EC19E6BC-9BE4-AAD1-26F9-0B048E4C5DE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230795" y="2921221"/>
            <a:ext cx="1023716" cy="1023772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3</a:t>
            </a:r>
            <a:endParaRPr lang="en-RU" dirty="0"/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1DF22A9F-A8D1-3219-A9DD-EE9BA4B730F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211024" y="2921221"/>
            <a:ext cx="1023716" cy="1023772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4</a:t>
            </a:r>
            <a:endParaRPr lang="en-RU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CEEA814-F8FB-713A-2152-33DD38D3E06D}"/>
              </a:ext>
            </a:extLst>
          </p:cNvPr>
          <p:cNvSpPr/>
          <p:nvPr/>
        </p:nvSpPr>
        <p:spPr>
          <a:xfrm>
            <a:off x="-46081" y="2835595"/>
            <a:ext cx="12273068" cy="1194774"/>
          </a:xfrm>
          <a:custGeom>
            <a:avLst/>
            <a:gdLst>
              <a:gd name="connsiteX0" fmla="*/ 0 w 26093055"/>
              <a:gd name="connsiteY0" fmla="*/ 0 h 2540000"/>
              <a:gd name="connsiteX1" fmla="*/ 26093055 w 26093055"/>
              <a:gd name="connsiteY1" fmla="*/ 0 h 2540000"/>
              <a:gd name="connsiteX2" fmla="*/ 26093055 w 26093055"/>
              <a:gd name="connsiteY2" fmla="*/ 2540000 h 2540000"/>
              <a:gd name="connsiteX3" fmla="*/ 0 w 26093055"/>
              <a:gd name="connsiteY3" fmla="*/ 2539999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93055" h="2540000">
                <a:moveTo>
                  <a:pt x="0" y="0"/>
                </a:moveTo>
                <a:lnTo>
                  <a:pt x="26093055" y="0"/>
                </a:lnTo>
                <a:lnTo>
                  <a:pt x="26093055" y="2540000"/>
                </a:lnTo>
                <a:lnTo>
                  <a:pt x="0" y="2539999"/>
                </a:lnTo>
                <a:close/>
              </a:path>
            </a:pathLst>
          </a:cu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778588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ma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A6149-122D-7A14-2AB6-5EB3D4C18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371C55-15DF-941E-8C8D-1EBB588343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3E9CB17B-066C-BBE4-A8A2-BE1A9CCAC5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F911378-1BBC-64E8-E839-E4E63372C657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40BADB3-200F-4527-3BC2-A0488C0FBE0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E15D5B3F-FD2E-F294-EB65-00B62149821A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31EBB512-DD1B-9F09-D765-782FCC8B6AEE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A6367331-06A6-E2F0-D460-2DDC28A46694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DBB9AD2-6A8D-AB1A-591D-F5EA102D45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C80B1A9-9ABB-8D55-19D2-29806F8DEE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A46B5E1-FA61-1995-2669-E4C90EFD0B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09E260A5-506E-7641-8463-F04273E1F3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520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A8A7F279-5724-E84E-339C-995BBD01A3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4520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22CAA125-67EB-C6D3-71E9-9EE66C4664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70338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6EFC5BBC-0FF1-338A-00CF-FB936BC04D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70338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3777F3B6-9D67-86F3-ABF7-4C15691D19A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90109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7AB228CD-4D8C-A10F-0A5C-888837C0483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0109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1FDFFAE-0B97-B77D-2B44-669A8D302AA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0567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0D28C0C4-BC1F-38D2-E5C5-3EB3382738D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50567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87FF090A-8795-BD80-5976-1A20274FC7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30795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CF00253-E1D9-9A22-EA90-897E0998900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30795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7432110-13EA-EB99-5F95-2A017A267AC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11024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24AA2FE2-DB96-AB8F-683E-D43DD4D210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211025" y="2229637"/>
            <a:ext cx="1790569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/>
              <a:t>Количество пользователей, присоединившихся в этом году в </a:t>
            </a:r>
            <a:r>
              <a:rPr lang="ru-RU" dirty="0" err="1"/>
              <a:t>сервисву</a:t>
            </a:r>
            <a:r>
              <a:rPr lang="ru-RU" dirty="0"/>
              <a:t> </a:t>
            </a:r>
            <a:r>
              <a:rPr lang="en-GB" dirty="0"/>
              <a:t>KION.</a:t>
            </a:r>
            <a:endParaRPr lang="en-GB" dirty="0">
              <a:solidFill>
                <a:srgbClr val="000000"/>
              </a:solidFill>
              <a:effectLst/>
              <a:latin typeface="MTS Text" panose="020B0306020102020303" pitchFamily="34" charset="0"/>
            </a:endParaRP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692697FE-A5EF-25DF-1969-FDA6EC001DB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49576" y="5426930"/>
            <a:ext cx="2963624" cy="9172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 2024 году планируем выйти </a:t>
            </a:r>
            <a:br>
              <a:rPr lang="ru-RU" dirty="0"/>
            </a:br>
            <a:r>
              <a:rPr lang="ru-RU" dirty="0"/>
              <a:t>на рынок Азии и повысить </a:t>
            </a:r>
            <a:r>
              <a:rPr lang="en-GB" dirty="0"/>
              <a:t>KPI </a:t>
            </a:r>
            <a:br>
              <a:rPr lang="ru-RU" dirty="0"/>
            </a:br>
            <a:r>
              <a:rPr lang="ru-RU" dirty="0"/>
              <a:t>на 30%.</a:t>
            </a:r>
            <a:endParaRPr lang="en-RU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9212BF7B-9D1A-AAAE-63A8-A7DFCF2F252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94519" y="2921221"/>
            <a:ext cx="1023716" cy="10237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19</a:t>
            </a:r>
            <a:endParaRPr lang="en-RU" dirty="0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00E6222-5C47-E874-75F2-88ACCA223CE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290109" y="2921221"/>
            <a:ext cx="1023716" cy="10237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0</a:t>
            </a:r>
            <a:endParaRPr lang="en-RU" dirty="0"/>
          </a:p>
        </p:txBody>
      </p:sp>
      <p:sp>
        <p:nvSpPr>
          <p:cNvPr id="40" name="Text Placeholder 36">
            <a:extLst>
              <a:ext uri="{FF2B5EF4-FFF2-40B4-BE49-F238E27FC236}">
                <a16:creationId xmlns:a16="http://schemas.microsoft.com/office/drawing/2014/main" id="{6CFB39BC-450C-4B5D-6926-D17F638292A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0338" y="2921221"/>
            <a:ext cx="1023716" cy="10237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1</a:t>
            </a:r>
            <a:endParaRPr lang="en-RU" dirty="0"/>
          </a:p>
        </p:txBody>
      </p:sp>
      <p:sp>
        <p:nvSpPr>
          <p:cNvPr id="41" name="Text Placeholder 36">
            <a:extLst>
              <a:ext uri="{FF2B5EF4-FFF2-40B4-BE49-F238E27FC236}">
                <a16:creationId xmlns:a16="http://schemas.microsoft.com/office/drawing/2014/main" id="{EE27E97D-A741-8573-74DD-7B31353B37C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50566" y="2921221"/>
            <a:ext cx="1023716" cy="10237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2</a:t>
            </a:r>
            <a:endParaRPr lang="en-RU" dirty="0"/>
          </a:p>
        </p:txBody>
      </p:sp>
      <p:sp>
        <p:nvSpPr>
          <p:cNvPr id="42" name="Text Placeholder 36">
            <a:extLst>
              <a:ext uri="{FF2B5EF4-FFF2-40B4-BE49-F238E27FC236}">
                <a16:creationId xmlns:a16="http://schemas.microsoft.com/office/drawing/2014/main" id="{EC19E6BC-9BE4-AAD1-26F9-0B048E4C5DE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230795" y="2921221"/>
            <a:ext cx="1023716" cy="1023772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3</a:t>
            </a:r>
            <a:endParaRPr lang="en-RU" dirty="0"/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1DF22A9F-A8D1-3219-A9DD-EE9BA4B730F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211024" y="2921221"/>
            <a:ext cx="1023716" cy="1023772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algn="ctr">
              <a:defRPr sz="1317" b="0" i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4</a:t>
            </a:r>
            <a:endParaRPr lang="en-RU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F7BD30A-CFB7-8EB6-C338-8A46B9F9C703}"/>
              </a:ext>
            </a:extLst>
          </p:cNvPr>
          <p:cNvSpPr/>
          <p:nvPr/>
        </p:nvSpPr>
        <p:spPr>
          <a:xfrm>
            <a:off x="-46081" y="2835595"/>
            <a:ext cx="11386745" cy="1194774"/>
          </a:xfrm>
          <a:custGeom>
            <a:avLst/>
            <a:gdLst>
              <a:gd name="connsiteX0" fmla="*/ 0 w 24208695"/>
              <a:gd name="connsiteY0" fmla="*/ 0 h 2540000"/>
              <a:gd name="connsiteX1" fmla="*/ 22938695 w 24208695"/>
              <a:gd name="connsiteY1" fmla="*/ 0 h 2540000"/>
              <a:gd name="connsiteX2" fmla="*/ 24208695 w 24208695"/>
              <a:gd name="connsiteY2" fmla="*/ 1270000 h 2540000"/>
              <a:gd name="connsiteX3" fmla="*/ 22938695 w 24208695"/>
              <a:gd name="connsiteY3" fmla="*/ 2540000 h 2540000"/>
              <a:gd name="connsiteX4" fmla="*/ 0 w 24208695"/>
              <a:gd name="connsiteY4" fmla="*/ 2539999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08695" h="2540000">
                <a:moveTo>
                  <a:pt x="0" y="0"/>
                </a:moveTo>
                <a:lnTo>
                  <a:pt x="22938695" y="0"/>
                </a:lnTo>
                <a:cubicBezTo>
                  <a:pt x="23640099" y="0"/>
                  <a:pt x="24208695" y="568598"/>
                  <a:pt x="24208695" y="1270000"/>
                </a:cubicBezTo>
                <a:cubicBezTo>
                  <a:pt x="24208695" y="1971402"/>
                  <a:pt x="23640095" y="2540000"/>
                  <a:pt x="22938695" y="2540000"/>
                </a:cubicBezTo>
                <a:lnTo>
                  <a:pt x="0" y="2539999"/>
                </a:lnTo>
                <a:close/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5880806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рупное изображение 4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414ED55-2E83-F45F-A142-BE0B6869F312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BD52D8B-7E77-60AC-A8A1-31D5BCD0DFC6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01582CED-61AB-A19F-A465-F3E04C296DE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B73E4CCB-B42B-1639-9F7C-D1B039172AC3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D15D0D81-268E-35B3-BE44-E58F88A10CA8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BFF8568-4BEB-4CA2-34AF-08726490A300}"/>
              </a:ext>
            </a:extLst>
          </p:cNvPr>
          <p:cNvSpPr/>
          <p:nvPr/>
        </p:nvSpPr>
        <p:spPr>
          <a:xfrm>
            <a:off x="0" y="4903840"/>
            <a:ext cx="3132582" cy="19541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00B61A1-B320-9C76-23BF-0D5EE402F5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83988" y="148976"/>
            <a:ext cx="578386" cy="181885"/>
          </a:xfrm>
          <a:prstGeom prst="rect">
            <a:avLst/>
          </a:prstGeom>
        </p:spPr>
        <p:txBody>
          <a:bodyPr lIns="0" tIns="0" rIns="0" bIns="0"/>
          <a:lstStyle>
            <a:lvl1pPr>
              <a:defRPr sz="988" b="0" i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fld id="{1B200421-228B-BD43-9045-8FEDD241C1B1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10DAF752-2844-AB5E-AB61-F0948E213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7" name="Picture Placeholder 25">
            <a:extLst>
              <a:ext uri="{FF2B5EF4-FFF2-40B4-BE49-F238E27FC236}">
                <a16:creationId xmlns:a16="http://schemas.microsoft.com/office/drawing/2014/main" id="{F57A500F-AA16-4C97-A16D-2B4239A3A70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B2FAF9E9-AF4C-E10E-795F-64809B3D14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0407" y="5104641"/>
            <a:ext cx="2697374" cy="1147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ини-описание того, </a:t>
            </a:r>
            <a:br>
              <a:rPr lang="ru-RU" dirty="0"/>
            </a:br>
            <a:r>
              <a:rPr lang="ru-RU" dirty="0"/>
              <a:t>что это за фото, и зачем </a:t>
            </a:r>
            <a:br>
              <a:rPr lang="ru-RU" dirty="0"/>
            </a:br>
            <a:r>
              <a:rPr lang="ru-RU" dirty="0"/>
              <a:t>мы его показываем.</a:t>
            </a:r>
            <a:endParaRPr lang="en-RU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9F3C475-1892-8298-31D5-158F0F9F189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5920700"/>
              <a:gd name="connsiteY0" fmla="*/ 0 h 14579600"/>
              <a:gd name="connsiteX1" fmla="*/ 24282700 w 25920700"/>
              <a:gd name="connsiteY1" fmla="*/ 0 h 14579600"/>
              <a:gd name="connsiteX2" fmla="*/ 24282700 w 25920700"/>
              <a:gd name="connsiteY2" fmla="*/ 1638000 h 14579600"/>
              <a:gd name="connsiteX3" fmla="*/ 25920700 w 25920700"/>
              <a:gd name="connsiteY3" fmla="*/ 1638000 h 14579600"/>
              <a:gd name="connsiteX4" fmla="*/ 25920700 w 25920700"/>
              <a:gd name="connsiteY4" fmla="*/ 14579600 h 14579600"/>
              <a:gd name="connsiteX5" fmla="*/ 6659565 w 25920700"/>
              <a:gd name="connsiteY5" fmla="*/ 14579600 h 14579600"/>
              <a:gd name="connsiteX6" fmla="*/ 6659565 w 25920700"/>
              <a:gd name="connsiteY6" fmla="*/ 10425113 h 14579600"/>
              <a:gd name="connsiteX7" fmla="*/ 0 w 25920700"/>
              <a:gd name="connsiteY7" fmla="*/ 10425113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920700" h="14579600">
                <a:moveTo>
                  <a:pt x="0" y="0"/>
                </a:moveTo>
                <a:lnTo>
                  <a:pt x="24282700" y="0"/>
                </a:lnTo>
                <a:lnTo>
                  <a:pt x="24282700" y="1638000"/>
                </a:lnTo>
                <a:lnTo>
                  <a:pt x="25920700" y="1638000"/>
                </a:lnTo>
                <a:lnTo>
                  <a:pt x="25920700" y="14579600"/>
                </a:lnTo>
                <a:lnTo>
                  <a:pt x="6659565" y="14579600"/>
                </a:lnTo>
                <a:lnTo>
                  <a:pt x="6659565" y="10425113"/>
                </a:lnTo>
                <a:lnTo>
                  <a:pt x="0" y="1042511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2BA5F1F-BA79-F11D-FF5A-06F5C8AC736B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Picture Placeholder 25">
            <a:extLst>
              <a:ext uri="{FF2B5EF4-FFF2-40B4-BE49-F238E27FC236}">
                <a16:creationId xmlns:a16="http://schemas.microsoft.com/office/drawing/2014/main" id="{6132236E-1FD6-8C0F-0B07-BE7F1250038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40421436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 1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5B6B3A-981F-5054-5CD2-E0D77FFC9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7931" y="797864"/>
            <a:ext cx="9433142" cy="1721401"/>
          </a:xfrm>
        </p:spPr>
        <p:txBody>
          <a:bodyPr/>
          <a:lstStyle>
            <a:lvl1pPr>
              <a:lnSpc>
                <a:spcPct val="90000"/>
              </a:lnSpc>
              <a:defRPr sz="3998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,  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00B61A1-B320-9C76-23BF-0D5EE402F5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83988" y="148976"/>
            <a:ext cx="578386" cy="181885"/>
          </a:xfrm>
          <a:prstGeom prst="rect">
            <a:avLst/>
          </a:prstGeom>
        </p:spPr>
        <p:txBody>
          <a:bodyPr lIns="0" tIns="0" rIns="0" bIns="0"/>
          <a:lstStyle>
            <a:lvl1pPr>
              <a:defRPr sz="988" b="0" i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fld id="{1B200421-228B-BD43-9045-8FEDD241C1B1}" type="slidenum">
              <a:rPr lang="ru-RU" smtClean="0"/>
              <a:t>‹#›</a:t>
            </a:fld>
            <a:endParaRPr lang="ru-RU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4425B867-8272-ABA9-1A3C-EA8BC91071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586" y="8290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F0115790-FCE2-ACBB-7E24-83DDF6DEE5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86" y="102298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13-15</a:t>
            </a:r>
            <a:endParaRPr lang="en-RU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10DAF752-2844-AB5E-AB61-F0948E213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A0F21B3-7DE1-9305-4FCE-4131F91DE215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ED72CB9-9478-4BAC-01D8-117927501EE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16B3016-63FC-EEDD-3217-320D3C9CD8C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8D5D605-9FC0-8DD6-3BE9-8844133F51C5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BCA33C5E-1EE2-F588-2081-B99C51D339A6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80123B1-C6B1-64D0-C23C-F731E9B613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B9884A5-5F26-CF6F-0878-90BAE4DE16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4AEFB06-37C3-9D2E-1BCF-B6D2732DFB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7B3A4C47-E46E-E3E5-2DAE-54154392F8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DB15948F-D244-2AB1-EF22-E4D927894B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4D68E20E-13B2-17E0-7D4C-2FACC547ED3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87261BB-AB9D-65B0-8F2E-78B41D1594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3CF13F6F-D426-FED6-FEED-7DA7B0961A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7D2CF2E3-9955-3AC8-1A0A-A33162076BA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74D6CC3-E5A1-3F97-C389-6187D4DD092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5CE5A97-E9BB-CC6A-0F10-AEB4A1BC317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8C862A5-4B89-2296-26FA-AE6D48970F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4869594-2934-3EE9-0749-A4318A186C0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3936ABE4-1071-E759-AC03-208A2A3530C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6195BF65-041C-9ACB-D4FD-5A3FFA75D10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B4888C60-1DAB-8FDD-924C-B5CCBAE1A4B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46EE3854-ABFB-8EC8-6A40-6F09A2142A1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5A43AA31-E84A-EE71-564E-22E57805B0A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A6DB73B-9B96-E3A9-1B45-28319219D8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8E998CE-280C-C7DF-27B1-0BC70EEF94F4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A56F61A-AF66-D5E6-7DF7-B55934010122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4932EBA-E97D-649A-7A1A-E4A620040E2B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D10BC47-1457-5EE3-7638-392F61F18D0C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2E6B946-F817-AD86-EE59-43931E2D8224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93F0D83-C960-7171-7245-8EAA2677B69B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3A43155-ECC2-546B-3BAC-5C100808E49E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619669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5B6B3A-981F-5054-5CD2-E0D77FFC9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7931" y="797864"/>
            <a:ext cx="9433142" cy="1721401"/>
          </a:xfrm>
        </p:spPr>
        <p:txBody>
          <a:bodyPr/>
          <a:lstStyle>
            <a:lvl1pPr>
              <a:lnSpc>
                <a:spcPct val="90000"/>
              </a:lnSpc>
              <a:defRPr sz="3998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,  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00B61A1-B320-9C76-23BF-0D5EE402F5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83988" y="148976"/>
            <a:ext cx="578386" cy="181885"/>
          </a:xfrm>
          <a:prstGeom prst="rect">
            <a:avLst/>
          </a:prstGeom>
        </p:spPr>
        <p:txBody>
          <a:bodyPr lIns="0" tIns="0" rIns="0" bIns="0"/>
          <a:lstStyle>
            <a:lvl1pPr>
              <a:defRPr sz="988" b="0" i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fld id="{1B200421-228B-BD43-9045-8FEDD241C1B1}" type="slidenum">
              <a:rPr lang="ru-RU" smtClean="0"/>
              <a:t>‹#›</a:t>
            </a:fld>
            <a:endParaRPr lang="ru-RU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4425B867-8272-ABA9-1A3C-EA8BC91071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586" y="8290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F0115790-FCE2-ACBB-7E24-83DDF6DEE5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86" y="102298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13-15</a:t>
            </a:r>
            <a:endParaRPr lang="en-RU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10DAF752-2844-AB5E-AB61-F0948E213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A0F21B3-7DE1-9305-4FCE-4131F91DE215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ED72CB9-9478-4BAC-01D8-117927501EE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16B3016-63FC-EEDD-3217-320D3C9CD8C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88D5D605-9FC0-8DD6-3BE9-8844133F51C5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BCA33C5E-1EE2-F588-2081-B99C51D339A6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80123B1-C6B1-64D0-C23C-F731E9B613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B9884A5-5F26-CF6F-0878-90BAE4DE16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4AEFB06-37C3-9D2E-1BCF-B6D2732DFB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7B3A4C47-E46E-E3E5-2DAE-54154392F8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DB15948F-D244-2AB1-EF22-E4D927894B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4D68E20E-13B2-17E0-7D4C-2FACC547ED3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287261BB-AB9D-65B0-8F2E-78B41D1594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3CF13F6F-D426-FED6-FEED-7DA7B0961A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7D2CF2E3-9955-3AC8-1A0A-A33162076BA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74D6CC3-E5A1-3F97-C389-6187D4DD092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5CE5A97-E9BB-CC6A-0F10-AEB4A1BC317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C8C862A5-4B89-2296-26FA-AE6D48970F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E4869594-2934-3EE9-0749-A4318A186C0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3936ABE4-1071-E759-AC03-208A2A3530C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6195BF65-041C-9ACB-D4FD-5A3FFA75D10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B4888C60-1DAB-8FDD-924C-B5CCBAE1A4B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46EE3854-ABFB-8EC8-6A40-6F09A2142A1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5A43AA31-E84A-EE71-564E-22E57805B0A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A6DB73B-9B96-E3A9-1B45-28319219D8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8E998CE-280C-C7DF-27B1-0BC70EEF94F4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A56F61A-AF66-D5E6-7DF7-B55934010122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4932EBA-E97D-649A-7A1A-E4A620040E2B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D10BC47-1457-5EE3-7638-392F61F18D0C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2E6B946-F817-AD86-EE59-43931E2D8224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93F0D83-C960-7171-7245-8EAA2677B69B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3A43155-ECC2-546B-3BAC-5C100808E49E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283705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2E06D4-8C46-3648-B699-2378CF1019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5F0865D-BB38-AE4D-8D96-9E3C9E50D2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456931E-3BA3-8342-9B0B-FE25584E1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988F7-6ECB-F94F-8679-A0D42C8C53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81DDC4C-2C09-2342-BCC7-A135AF5957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50047E-4F7D-EA49-9557-6835357C4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00421-228B-BD43-9045-8FEDD241C1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43065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7857142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17A986C-416B-741F-AF23-CD7CCD99AD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576" y="165028"/>
            <a:ext cx="11816616" cy="6492719"/>
          </a:xfrm>
          <a:prstGeom prst="rect">
            <a:avLst/>
          </a:prstGeom>
        </p:spPr>
      </p:pic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175576" y="1077537"/>
            <a:ext cx="10873238" cy="5745624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>
            <a:lvl1pPr marL="0" marR="0" indent="0" algn="l" defTabSz="96752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762" b="0" i="0" kern="0" cap="all" spc="-71" baseline="0">
                <a:solidFill>
                  <a:schemeClr val="bg1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en-US" dirty="0" err="1"/>
              <a:t>С</a:t>
            </a:r>
            <a:r>
              <a:rPr lang="ru-RU" dirty="0"/>
              <a:t>ТРОК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3550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A1A0A5-38FB-D540-9F3D-AD50D6CC1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B0083F0-FA28-9148-9DE3-6E49456DA5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44B4F12-2C3F-DA49-8E33-46865D5166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988F7-6ECB-F94F-8679-A0D42C8C53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C7A68DC-9065-FD4D-99E7-572590758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0D16283-6F47-F440-A073-EF4900954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00421-228B-BD43-9045-8FEDD241C1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76649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D200A4-C939-E2CE-085D-5BF484B600E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AC69D77-4532-FA58-B251-1AF01FC46E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36697485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заголовком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7D6CB55B-8B87-B2FF-1410-131EA3C949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6B1A584-3E5C-D906-62EE-C17F9C87E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главление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7810127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заголовком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4363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47" imgH="348" progId="TCLayout.ActiveDocument.1">
                  <p:embed/>
                </p:oleObj>
              </mc:Choice>
              <mc:Fallback>
                <p:oleObj name="Слайд think-cell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10" name="Title 9">
            <a:extLst>
              <a:ext uri="{FF2B5EF4-FFF2-40B4-BE49-F238E27FC236}">
                <a16:creationId xmlns:a16="http://schemas.microsoft.com/office/drawing/2014/main" id="{6F3F6A58-6211-B93A-C5F9-F1410310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550" y="528914"/>
            <a:ext cx="10630666" cy="358588"/>
          </a:xfrm>
        </p:spPr>
        <p:txBody>
          <a:bodyPr vert="horz"/>
          <a:lstStyle/>
          <a:p>
            <a:r>
              <a:rPr lang="ru-RU" dirty="0"/>
              <a:t>Оглавление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10930295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заголовком 3">
    <p:bg>
      <p:bgPr>
        <a:solidFill>
          <a:srgbClr val="1A1A1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6802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47" imgH="348" progId="TCLayout.ActiveDocument.1">
                  <p:embed/>
                </p:oleObj>
              </mc:Choice>
              <mc:Fallback>
                <p:oleObj name="Слайд think-cell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5E20234-FF3A-A64D-988C-C8230180A08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374"/>
            <a:ext cx="12192000" cy="6858001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10" name="Title 9">
            <a:extLst>
              <a:ext uri="{FF2B5EF4-FFF2-40B4-BE49-F238E27FC236}">
                <a16:creationId xmlns:a16="http://schemas.microsoft.com/office/drawing/2014/main" id="{6F3F6A58-6211-B93A-C5F9-F1410310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578" y="590820"/>
            <a:ext cx="10630666" cy="358588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главление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3493352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74A15FAB-10A4-8072-F186-3DD9F6973B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7228398-C859-B5E6-F8FB-AF06CAE08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главление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65138271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74A15FAB-10A4-8072-F186-3DD9F6973B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7228398-C859-B5E6-F8FB-AF06CAE08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главление</a:t>
            </a:r>
            <a:endParaRPr lang="en-RU" dirty="0"/>
          </a:p>
        </p:txBody>
      </p:sp>
      <p:sp>
        <p:nvSpPr>
          <p:cNvPr id="2" name="Graphic 41">
            <a:extLst>
              <a:ext uri="{FF2B5EF4-FFF2-40B4-BE49-F238E27FC236}">
                <a16:creationId xmlns:a16="http://schemas.microsoft.com/office/drawing/2014/main" id="{7F20F7F7-A770-FB9C-06EA-CCBD16A1C531}"/>
              </a:ext>
            </a:extLst>
          </p:cNvPr>
          <p:cNvSpPr/>
          <p:nvPr/>
        </p:nvSpPr>
        <p:spPr>
          <a:xfrm>
            <a:off x="198818" y="6060446"/>
            <a:ext cx="634406" cy="634440"/>
          </a:xfrm>
          <a:custGeom>
            <a:avLst/>
            <a:gdLst>
              <a:gd name="connsiteX0" fmla="*/ 674387 w 1348773"/>
              <a:gd name="connsiteY0" fmla="*/ 1348773 h 1348773"/>
              <a:gd name="connsiteX1" fmla="*/ 0 w 1348773"/>
              <a:gd name="connsiteY1" fmla="*/ 674387 h 1348773"/>
              <a:gd name="connsiteX2" fmla="*/ 674387 w 1348773"/>
              <a:gd name="connsiteY2" fmla="*/ 0 h 1348773"/>
              <a:gd name="connsiteX3" fmla="*/ 1348773 w 1348773"/>
              <a:gd name="connsiteY3" fmla="*/ 674387 h 1348773"/>
              <a:gd name="connsiteX4" fmla="*/ 674387 w 1348773"/>
              <a:gd name="connsiteY4" fmla="*/ 1348773 h 1348773"/>
              <a:gd name="connsiteX5" fmla="*/ 674387 w 1348773"/>
              <a:gd name="connsiteY5" fmla="*/ 13488 h 1348773"/>
              <a:gd name="connsiteX6" fmla="*/ 13488 w 1348773"/>
              <a:gd name="connsiteY6" fmla="*/ 674387 h 1348773"/>
              <a:gd name="connsiteX7" fmla="*/ 674387 w 1348773"/>
              <a:gd name="connsiteY7" fmla="*/ 1335285 h 1348773"/>
              <a:gd name="connsiteX8" fmla="*/ 1335285 w 1348773"/>
              <a:gd name="connsiteY8" fmla="*/ 674387 h 1348773"/>
              <a:gd name="connsiteX9" fmla="*/ 674387 w 1348773"/>
              <a:gd name="connsiteY9" fmla="*/ 13488 h 1348773"/>
              <a:gd name="connsiteX10" fmla="*/ 725100 w 1348773"/>
              <a:gd name="connsiteY10" fmla="*/ 947378 h 1348773"/>
              <a:gd name="connsiteX11" fmla="*/ 715524 w 1348773"/>
              <a:gd name="connsiteY11" fmla="*/ 937802 h 1348773"/>
              <a:gd name="connsiteX12" fmla="*/ 967610 w 1348773"/>
              <a:gd name="connsiteY12" fmla="*/ 685716 h 1348773"/>
              <a:gd name="connsiteX13" fmla="*/ 377656 w 1348773"/>
              <a:gd name="connsiteY13" fmla="*/ 685716 h 1348773"/>
              <a:gd name="connsiteX14" fmla="*/ 377656 w 1348773"/>
              <a:gd name="connsiteY14" fmla="*/ 672228 h 1348773"/>
              <a:gd name="connsiteX15" fmla="*/ 964912 w 1348773"/>
              <a:gd name="connsiteY15" fmla="*/ 672228 h 1348773"/>
              <a:gd name="connsiteX16" fmla="*/ 715659 w 1348773"/>
              <a:gd name="connsiteY16" fmla="*/ 422840 h 1348773"/>
              <a:gd name="connsiteX17" fmla="*/ 725235 w 1348773"/>
              <a:gd name="connsiteY17" fmla="*/ 413264 h 1348773"/>
              <a:gd name="connsiteX18" fmla="*/ 989460 w 1348773"/>
              <a:gd name="connsiteY18" fmla="*/ 677489 h 1348773"/>
              <a:gd name="connsiteX19" fmla="*/ 986628 w 1348773"/>
              <a:gd name="connsiteY19" fmla="*/ 680321 h 1348773"/>
              <a:gd name="connsiteX20" fmla="*/ 989460 w 1348773"/>
              <a:gd name="connsiteY20" fmla="*/ 683154 h 1348773"/>
              <a:gd name="connsiteX21" fmla="*/ 725100 w 1348773"/>
              <a:gd name="connsiteY21" fmla="*/ 947378 h 1348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348773" h="1348773">
                <a:moveTo>
                  <a:pt x="674387" y="1348773"/>
                </a:moveTo>
                <a:cubicBezTo>
                  <a:pt x="302530" y="1348773"/>
                  <a:pt x="0" y="1046243"/>
                  <a:pt x="0" y="674387"/>
                </a:cubicBezTo>
                <a:cubicBezTo>
                  <a:pt x="0" y="302530"/>
                  <a:pt x="302530" y="0"/>
                  <a:pt x="674387" y="0"/>
                </a:cubicBezTo>
                <a:cubicBezTo>
                  <a:pt x="1046243" y="0"/>
                  <a:pt x="1348773" y="302530"/>
                  <a:pt x="1348773" y="674387"/>
                </a:cubicBezTo>
                <a:cubicBezTo>
                  <a:pt x="1348773" y="1046243"/>
                  <a:pt x="1046243" y="1348773"/>
                  <a:pt x="674387" y="1348773"/>
                </a:cubicBezTo>
                <a:close/>
                <a:moveTo>
                  <a:pt x="674387" y="13488"/>
                </a:moveTo>
                <a:cubicBezTo>
                  <a:pt x="309948" y="13488"/>
                  <a:pt x="13488" y="309948"/>
                  <a:pt x="13488" y="674387"/>
                </a:cubicBezTo>
                <a:cubicBezTo>
                  <a:pt x="13488" y="1038825"/>
                  <a:pt x="309948" y="1335285"/>
                  <a:pt x="674387" y="1335285"/>
                </a:cubicBezTo>
                <a:cubicBezTo>
                  <a:pt x="1038825" y="1335285"/>
                  <a:pt x="1335285" y="1038825"/>
                  <a:pt x="1335285" y="674387"/>
                </a:cubicBezTo>
                <a:cubicBezTo>
                  <a:pt x="1335285" y="309948"/>
                  <a:pt x="1038825" y="13488"/>
                  <a:pt x="674387" y="13488"/>
                </a:cubicBezTo>
                <a:close/>
                <a:moveTo>
                  <a:pt x="725100" y="947378"/>
                </a:moveTo>
                <a:lnTo>
                  <a:pt x="715524" y="937802"/>
                </a:lnTo>
                <a:lnTo>
                  <a:pt x="967610" y="685716"/>
                </a:lnTo>
                <a:lnTo>
                  <a:pt x="377656" y="685716"/>
                </a:lnTo>
                <a:lnTo>
                  <a:pt x="377656" y="672228"/>
                </a:lnTo>
                <a:lnTo>
                  <a:pt x="964912" y="672228"/>
                </a:lnTo>
                <a:lnTo>
                  <a:pt x="715659" y="422840"/>
                </a:lnTo>
                <a:lnTo>
                  <a:pt x="725235" y="413264"/>
                </a:lnTo>
                <a:lnTo>
                  <a:pt x="989460" y="677489"/>
                </a:lnTo>
                <a:lnTo>
                  <a:pt x="986628" y="680321"/>
                </a:lnTo>
                <a:lnTo>
                  <a:pt x="989460" y="683154"/>
                </a:lnTo>
                <a:lnTo>
                  <a:pt x="725100" y="947378"/>
                </a:lnTo>
                <a:close/>
              </a:path>
            </a:pathLst>
          </a:custGeom>
          <a:solidFill>
            <a:srgbClr val="000000"/>
          </a:solidFill>
          <a:ln w="13430" cap="flat">
            <a:noFill/>
            <a:prstDash val="solid"/>
            <a:miter/>
          </a:ln>
        </p:spPr>
        <p:txBody>
          <a:bodyPr rtlCol="0" anchor="ctr"/>
          <a:lstStyle/>
          <a:p>
            <a:endParaRPr lang="en-RU" sz="1904"/>
          </a:p>
        </p:txBody>
      </p:sp>
    </p:spTree>
    <p:extLst>
      <p:ext uri="{BB962C8B-B14F-4D97-AF65-F5344CB8AC3E}">
        <p14:creationId xmlns:p14="http://schemas.microsoft.com/office/powerpoint/2010/main" val="255234048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0A354B8-D4A7-CFB2-2844-CB15021724CB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E33F670C-9844-8AB0-2F99-7DE8A6F5EA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EC86D0C0-A132-DCF5-A7EB-4A4896D532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AB888133-86FC-9770-D3EC-27675CB608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7EF1A87-4DAA-9406-794E-ADE81A2D4A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51" name="Text Placeholder 14">
            <a:extLst>
              <a:ext uri="{FF2B5EF4-FFF2-40B4-BE49-F238E27FC236}">
                <a16:creationId xmlns:a16="http://schemas.microsoft.com/office/drawing/2014/main" id="{8FCA52BD-18EE-14C5-0BBF-DC34A694A4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52" name="Text Placeholder 14">
            <a:extLst>
              <a:ext uri="{FF2B5EF4-FFF2-40B4-BE49-F238E27FC236}">
                <a16:creationId xmlns:a16="http://schemas.microsoft.com/office/drawing/2014/main" id="{00AF225C-352B-F96E-BAD1-C88D1B2ACB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53" name="Text Placeholder 14">
            <a:extLst>
              <a:ext uri="{FF2B5EF4-FFF2-40B4-BE49-F238E27FC236}">
                <a16:creationId xmlns:a16="http://schemas.microsoft.com/office/drawing/2014/main" id="{5710A7DD-5BB7-49A4-5B4B-71173246A4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54" name="Text Placeholder 14">
            <a:extLst>
              <a:ext uri="{FF2B5EF4-FFF2-40B4-BE49-F238E27FC236}">
                <a16:creationId xmlns:a16="http://schemas.microsoft.com/office/drawing/2014/main" id="{6859AAA7-093C-A21B-C13C-CC81D2E272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55" name="Text Placeholder 14">
            <a:extLst>
              <a:ext uri="{FF2B5EF4-FFF2-40B4-BE49-F238E27FC236}">
                <a16:creationId xmlns:a16="http://schemas.microsoft.com/office/drawing/2014/main" id="{5BFA4620-FE20-2B38-8B5A-74A86B201C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.3</a:t>
            </a:r>
            <a:endParaRPr lang="en-RU" dirty="0"/>
          </a:p>
        </p:txBody>
      </p:sp>
      <p:sp>
        <p:nvSpPr>
          <p:cNvPr id="56" name="Text Placeholder 14">
            <a:extLst>
              <a:ext uri="{FF2B5EF4-FFF2-40B4-BE49-F238E27FC236}">
                <a16:creationId xmlns:a16="http://schemas.microsoft.com/office/drawing/2014/main" id="{6D1C3220-F3E1-7F80-0FDC-4C015979D1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57" name="Text Placeholder 14">
            <a:extLst>
              <a:ext uri="{FF2B5EF4-FFF2-40B4-BE49-F238E27FC236}">
                <a16:creationId xmlns:a16="http://schemas.microsoft.com/office/drawing/2014/main" id="{2B4C5473-7B82-9ED0-4BF7-72167F17826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58" name="Text Placeholder 14">
            <a:extLst>
              <a:ext uri="{FF2B5EF4-FFF2-40B4-BE49-F238E27FC236}">
                <a16:creationId xmlns:a16="http://schemas.microsoft.com/office/drawing/2014/main" id="{7C10B8C7-AF18-BD5C-296E-3A255FC0DAB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59" name="Text Placeholder 14">
            <a:extLst>
              <a:ext uri="{FF2B5EF4-FFF2-40B4-BE49-F238E27FC236}">
                <a16:creationId xmlns:a16="http://schemas.microsoft.com/office/drawing/2014/main" id="{49C561C7-B537-46D0-6E35-5A47A78BEF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60" name="Text Placeholder 14">
            <a:extLst>
              <a:ext uri="{FF2B5EF4-FFF2-40B4-BE49-F238E27FC236}">
                <a16:creationId xmlns:a16="http://schemas.microsoft.com/office/drawing/2014/main" id="{5BD6144A-235C-8F27-6F83-E90119C01E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61" name="Text Placeholder 14">
            <a:extLst>
              <a:ext uri="{FF2B5EF4-FFF2-40B4-BE49-F238E27FC236}">
                <a16:creationId xmlns:a16="http://schemas.microsoft.com/office/drawing/2014/main" id="{3A89C245-8FBB-E173-615B-DB66C2A0A46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62" name="Text Placeholder 14">
            <a:extLst>
              <a:ext uri="{FF2B5EF4-FFF2-40B4-BE49-F238E27FC236}">
                <a16:creationId xmlns:a16="http://schemas.microsoft.com/office/drawing/2014/main" id="{A683CAA6-0C6C-740B-F92A-7C9D53E5987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63" name="Text Placeholder 14">
            <a:extLst>
              <a:ext uri="{FF2B5EF4-FFF2-40B4-BE49-F238E27FC236}">
                <a16:creationId xmlns:a16="http://schemas.microsoft.com/office/drawing/2014/main" id="{99FF2A61-C0D3-0CC0-423E-3133B807B84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64" name="Text Placeholder 14">
            <a:extLst>
              <a:ext uri="{FF2B5EF4-FFF2-40B4-BE49-F238E27FC236}">
                <a16:creationId xmlns:a16="http://schemas.microsoft.com/office/drawing/2014/main" id="{848E35DC-B534-3795-77FF-D8D192C119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65" name="Text Placeholder 14">
            <a:extLst>
              <a:ext uri="{FF2B5EF4-FFF2-40B4-BE49-F238E27FC236}">
                <a16:creationId xmlns:a16="http://schemas.microsoft.com/office/drawing/2014/main" id="{79767194-E02B-FDFC-16AD-84D2ED1EB10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66" name="Text Placeholder 14">
            <a:extLst>
              <a:ext uri="{FF2B5EF4-FFF2-40B4-BE49-F238E27FC236}">
                <a16:creationId xmlns:a16="http://schemas.microsoft.com/office/drawing/2014/main" id="{821B7873-34E7-B892-85A6-1E81ECC84B0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67" name="Text Placeholder 14">
            <a:extLst>
              <a:ext uri="{FF2B5EF4-FFF2-40B4-BE49-F238E27FC236}">
                <a16:creationId xmlns:a16="http://schemas.microsoft.com/office/drawing/2014/main" id="{0CC75EFC-61ED-9EB0-C717-42F0E1CC2DB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68" name="Text Placeholder 14">
            <a:extLst>
              <a:ext uri="{FF2B5EF4-FFF2-40B4-BE49-F238E27FC236}">
                <a16:creationId xmlns:a16="http://schemas.microsoft.com/office/drawing/2014/main" id="{1793EADF-DDF2-0669-8D1C-505F2330374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69" name="Text Placeholder 14">
            <a:extLst>
              <a:ext uri="{FF2B5EF4-FFF2-40B4-BE49-F238E27FC236}">
                <a16:creationId xmlns:a16="http://schemas.microsoft.com/office/drawing/2014/main" id="{D29A9E21-852F-5D68-3834-2C768154E0E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70" name="Text Placeholder 14">
            <a:extLst>
              <a:ext uri="{FF2B5EF4-FFF2-40B4-BE49-F238E27FC236}">
                <a16:creationId xmlns:a16="http://schemas.microsoft.com/office/drawing/2014/main" id="{F8F9939E-CDA9-0BC9-A7A9-6FDCE81063C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0A5DF604-834E-AB19-FB84-917D6898C5FF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D35C765-10D6-8AE1-865C-FD913C7563EC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CFBD82A-FBF8-4BA1-C6E3-EAFDF48EC0A3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E545BE4F-39E6-29B1-6640-3016F55BDB70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AFB0550-563F-7C88-CFD6-31E8BB4ACDCE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F4625278-4E79-9E78-E0CA-EF3E07AD43B5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C6B3CEA0-0D37-09F9-8906-CC449C5E44C7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FB7312E0-465A-EA64-BEE6-82EF1838B15F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 Placeholder 14">
            <a:extLst>
              <a:ext uri="{FF2B5EF4-FFF2-40B4-BE49-F238E27FC236}">
                <a16:creationId xmlns:a16="http://schemas.microsoft.com/office/drawing/2014/main" id="{EA3DE63A-4BFD-6E14-676C-7D60C69204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039521" y="344670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81" name="Text Placeholder 14">
            <a:extLst>
              <a:ext uri="{FF2B5EF4-FFF2-40B4-BE49-F238E27FC236}">
                <a16:creationId xmlns:a16="http://schemas.microsoft.com/office/drawing/2014/main" id="{64884866-A7FB-9118-06D8-3EBEFFE9027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32376" y="344145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r>
              <a:rPr lang="ru-RU" dirty="0"/>
              <a:t>.</a:t>
            </a:r>
            <a:r>
              <a:rPr lang="en-US" dirty="0"/>
              <a:t>2</a:t>
            </a:r>
            <a:endParaRPr lang="en-RU" dirty="0"/>
          </a:p>
        </p:txBody>
      </p:sp>
      <p:sp>
        <p:nvSpPr>
          <p:cNvPr id="82" name="Text Placeholder 14">
            <a:extLst>
              <a:ext uri="{FF2B5EF4-FFF2-40B4-BE49-F238E27FC236}">
                <a16:creationId xmlns:a16="http://schemas.microsoft.com/office/drawing/2014/main" id="{9DDBDEC2-E5CC-77AA-AC87-A66C70A3170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132376" y="363543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84" name="Title 83">
            <a:extLst>
              <a:ext uri="{FF2B5EF4-FFF2-40B4-BE49-F238E27FC236}">
                <a16:creationId xmlns:a16="http://schemas.microsoft.com/office/drawing/2014/main" id="{DDF037D7-423A-0D10-878C-B7CA782914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главление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81763444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05648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407371" y="1318105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91136373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05648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407371" y="2661746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19659159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3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6C8392B3-3FCB-F4B4-18E6-94D59DCCD7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5B6B3A-981F-5054-5CD2-E0D77FFC9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ТАКОЕ НАЗВАНИЕ</a:t>
            </a:r>
            <a:br>
              <a:rPr lang="ru-RU" dirty="0"/>
            </a:br>
            <a:r>
              <a:rPr lang="ru-RU" dirty="0"/>
              <a:t>ПРЕЗЕНТАЦИИ </a:t>
            </a:r>
            <a:br>
              <a:rPr lang="ru-RU" dirty="0"/>
            </a:br>
            <a:r>
              <a:rPr lang="ru-RU" dirty="0"/>
              <a:t>3-4 СТРОКИ</a:t>
            </a:r>
            <a:endParaRPr lang="en-RU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0F4C54F-5523-F244-C755-7C50724BDE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64169" y="6561684"/>
            <a:ext cx="1771155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33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 err="1"/>
              <a:t>Д</a:t>
            </a:r>
            <a:r>
              <a:rPr lang="ru-RU" dirty="0" err="1"/>
              <a:t>олжность</a:t>
            </a:r>
            <a:r>
              <a:rPr lang="ru-RU" dirty="0"/>
              <a:t> автора</a:t>
            </a:r>
            <a:endParaRPr lang="en-RU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56A433E-DF8D-4B7E-8E2C-89E543A62C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45409" y="6561684"/>
            <a:ext cx="1748415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33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 err="1"/>
              <a:t>И</a:t>
            </a:r>
            <a:r>
              <a:rPr lang="ru-RU" dirty="0" err="1"/>
              <a:t>мя</a:t>
            </a:r>
            <a:r>
              <a:rPr lang="ru-RU" dirty="0"/>
              <a:t> Фамилия</a:t>
            </a:r>
            <a:endParaRPr lang="en-RU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04A5DBD-36F5-82A0-7673-B562C4CDFB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E988F7-6ECB-F94F-8679-A0D42C8C5318}" type="datetimeFigureOut">
              <a:rPr lang="ru-RU" smtClean="0"/>
              <a:t>11.03.20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7237784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05648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407371" y="4008071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59650707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05648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407371" y="5351713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B6290B8-8CF6-B053-7520-CF15BADC67F2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2043A5F-8CDB-BE29-94B4-863E0216BE21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70C8C3DD-EECF-6862-6C90-114F10C1B414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54ACC69A-4DD7-74F2-2AE1-BCA702DBFF53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FCE51DF3-C412-AD9F-0F47-612B0763BF0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45075753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077841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1137841" y="1318105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59DC529-49BD-8D1D-C0D6-AB95AE46150D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D0C1200-44C7-FF87-3575-96CA4CA8561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D23DCFF5-AA6E-7DB7-E19C-3DE47D46BA91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BD0D226-5A59-32E4-D553-E1B2DF19E65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20F742EA-9746-1864-D7D8-547C6BE5CE8B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240240262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077841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1137841" y="2661746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B62B13E-36BD-7AD8-6D5F-CB951281C66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429CED8-82A8-886D-86AE-6B200902308C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8EBDC330-4C96-A4AC-1B08-263ED3687FEB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EF76EB8-3153-1CE5-AE9A-B49BC5D3E9B7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3D9A2524-F3BA-D03A-B461-637F36896C2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263568765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2" y="4124467"/>
            <a:ext cx="2077841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1137841" y="4008071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DFDCCB-AADB-C4CD-9E63-97E8B28B41FD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5ED4B90-353E-4860-D5FB-E36F777277D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764A870F-D31F-5EBB-A248-ABCDA58A61EA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DB3C7F3C-5D52-508C-C840-53200B3E1699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7D3C6F70-1E07-8B57-8958-74BC58D0C0B0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29222180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077841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1137841" y="5351713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3B3DCFA-D9BC-ED25-5CE8-A55E70720822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F312E70-8FEA-C2C0-BF8F-3A8C2CE38797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B2EED3DE-71A9-A2E3-FA84-7FB7971F0ED5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6C480976-BA2B-09F0-7448-3DF2CD90A573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C0306AC1-DAB4-38BF-0510-49C948672A2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33639394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41" name="Table Placeholder 40">
            <a:extLst>
              <a:ext uri="{FF2B5EF4-FFF2-40B4-BE49-F238E27FC236}">
                <a16:creationId xmlns:a16="http://schemas.microsoft.com/office/drawing/2014/main" id="{C98EE4DE-18C5-37A7-6680-05FE6302CE9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90407" y="1305290"/>
            <a:ext cx="7074168" cy="403385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5" b="0" i="0"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49576" y="2122581"/>
            <a:ext cx="2969750" cy="1306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раткое текстовое описание данный таблицы, если оно требуется; вводное слово об информации в таблице.</a:t>
            </a:r>
            <a:endParaRPr lang="en-RU" dirty="0"/>
          </a:p>
        </p:txBody>
      </p:sp>
      <p:sp>
        <p:nvSpPr>
          <p:cNvPr id="53" name="Picture Placeholder 25">
            <a:extLst>
              <a:ext uri="{FF2B5EF4-FFF2-40B4-BE49-F238E27FC236}">
                <a16:creationId xmlns:a16="http://schemas.microsoft.com/office/drawing/2014/main" id="{56F69510-1947-9C4A-234E-3DF188BB048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666E2C45-8A5B-2FE8-6255-B27E264791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0C44541B-35FE-2FE4-FE33-A4130D380C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2129824B-E0C0-A921-2F5A-BFD4D5A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9" name="Title 58">
            <a:extLst>
              <a:ext uri="{FF2B5EF4-FFF2-40B4-BE49-F238E27FC236}">
                <a16:creationId xmlns:a16="http://schemas.microsoft.com/office/drawing/2014/main" id="{0462E639-32ED-BA57-A0B0-7AF2B11151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Слайд с таблицей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BCB5EAD-D673-475E-3B1E-7AC82FE057B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9474CC-ABAB-FF79-60DD-8D62B637916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2A99126-3E35-379B-D9F5-2D6D804F7001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D7B5379-7A94-1274-00E1-7B18C92D21B8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293C2B84-10EE-6B34-A896-982F94A05C6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051CBB7-0EFF-7311-DE34-9C5CBC5400B4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Picture Placeholder 25">
            <a:extLst>
              <a:ext uri="{FF2B5EF4-FFF2-40B4-BE49-F238E27FC236}">
                <a16:creationId xmlns:a16="http://schemas.microsoft.com/office/drawing/2014/main" id="{A7AA9E12-4FA7-34D7-AE1D-F7EEB1DE0D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90978336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41" name="Table Placeholder 40">
            <a:extLst>
              <a:ext uri="{FF2B5EF4-FFF2-40B4-BE49-F238E27FC236}">
                <a16:creationId xmlns:a16="http://schemas.microsoft.com/office/drawing/2014/main" id="{C98EE4DE-18C5-37A7-6680-05FE6302CE9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90407" y="1305290"/>
            <a:ext cx="7074168" cy="403385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5" b="0" i="0"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49576" y="2122581"/>
            <a:ext cx="2969750" cy="1306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раткое текстовое описание данный таблицы, если оно требуется; вводное слово об информации в таблице.</a:t>
            </a:r>
            <a:endParaRPr lang="en-RU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666E2C45-8A5B-2FE8-6255-B27E264791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0C44541B-35FE-2FE4-FE33-A4130D380C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2129824B-E0C0-A921-2F5A-BFD4D5A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9" name="Title 58">
            <a:extLst>
              <a:ext uri="{FF2B5EF4-FFF2-40B4-BE49-F238E27FC236}">
                <a16:creationId xmlns:a16="http://schemas.microsoft.com/office/drawing/2014/main" id="{0462E639-32ED-BA57-A0B0-7AF2B11151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Слайд с таблицей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BCB5EAD-D673-475E-3B1E-7AC82FE057B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9474CC-ABAB-FF79-60DD-8D62B637916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2A99126-3E35-379B-D9F5-2D6D804F7001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D7B5379-7A94-1274-00E1-7B18C92D21B8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293C2B84-10EE-6B34-A896-982F94A05C6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248024822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41" name="Table Placeholder 40">
            <a:extLst>
              <a:ext uri="{FF2B5EF4-FFF2-40B4-BE49-F238E27FC236}">
                <a16:creationId xmlns:a16="http://schemas.microsoft.com/office/drawing/2014/main" id="{C98EE4DE-18C5-37A7-6680-05FE6302CE9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90407" y="1305290"/>
            <a:ext cx="11222793" cy="403385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5" b="0" i="0"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49576" y="5955971"/>
            <a:ext cx="2963624" cy="73700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раткое текстовое описание данный таблицы,  если оно требуется; вводное слово об информации  в таблице. Краткое текстовое описание данный таблицы, если оно требуется; вводное слово об информации в таблице.</a:t>
            </a:r>
            <a:endParaRPr lang="en-RU" dirty="0"/>
          </a:p>
        </p:txBody>
      </p:sp>
      <p:sp>
        <p:nvSpPr>
          <p:cNvPr id="53" name="Picture Placeholder 25">
            <a:extLst>
              <a:ext uri="{FF2B5EF4-FFF2-40B4-BE49-F238E27FC236}">
                <a16:creationId xmlns:a16="http://schemas.microsoft.com/office/drawing/2014/main" id="{56F69510-1947-9C4A-234E-3DF188BB048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666E2C45-8A5B-2FE8-6255-B27E264791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2129824B-E0C0-A921-2F5A-BFD4D5A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377" y="620621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9" name="Title 58">
            <a:extLst>
              <a:ext uri="{FF2B5EF4-FFF2-40B4-BE49-F238E27FC236}">
                <a16:creationId xmlns:a16="http://schemas.microsoft.com/office/drawing/2014/main" id="{0462E639-32ED-BA57-A0B0-7AF2B11151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Слайд с таблицей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BCB5EAD-D673-475E-3B1E-7AC82FE057B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9474CC-ABAB-FF79-60DD-8D62B637916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2A99126-3E35-379B-D9F5-2D6D804F7001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D7B5379-7A94-1274-00E1-7B18C92D21B8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293C2B84-10EE-6B34-A896-982F94A05C6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BA969B75-803F-E82B-5B32-27EA4A062F92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Picture Placeholder 25">
            <a:extLst>
              <a:ext uri="{FF2B5EF4-FFF2-40B4-BE49-F238E27FC236}">
                <a16:creationId xmlns:a16="http://schemas.microsoft.com/office/drawing/2014/main" id="{46584BF1-B5A8-89EB-BB74-95B6F08ECA9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79184288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41" name="Table Placeholder 40">
            <a:extLst>
              <a:ext uri="{FF2B5EF4-FFF2-40B4-BE49-F238E27FC236}">
                <a16:creationId xmlns:a16="http://schemas.microsoft.com/office/drawing/2014/main" id="{C98EE4DE-18C5-37A7-6680-05FE6302CE9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90407" y="1305290"/>
            <a:ext cx="11222793" cy="403385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5" b="0" i="0"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49576" y="5955971"/>
            <a:ext cx="2963624" cy="73700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раткое текстовое описание данный таблицы,  если оно требуется; вводное слово об информации  в таблице. Краткое текстовое описание данный таблицы, если оно требуется; вводное слово об информации в таблице.</a:t>
            </a:r>
            <a:endParaRPr lang="en-RU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666E2C45-8A5B-2FE8-6255-B27E264791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2129824B-E0C0-A921-2F5A-BFD4D5AF95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32377" y="620621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9" name="Title 58">
            <a:extLst>
              <a:ext uri="{FF2B5EF4-FFF2-40B4-BE49-F238E27FC236}">
                <a16:creationId xmlns:a16="http://schemas.microsoft.com/office/drawing/2014/main" id="{0462E639-32ED-BA57-A0B0-7AF2B11151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Слайд с таблицей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BCB5EAD-D673-475E-3B1E-7AC82FE057B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9474CC-ABAB-FF79-60DD-8D62B637916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2A99126-3E35-379B-D9F5-2D6D804F7001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D7B5379-7A94-1274-00E1-7B18C92D21B8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293C2B84-10EE-6B34-A896-982F94A05C6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293384004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4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C9C77EDC-96CA-D59B-1899-C4D7C9ED6E7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47"/>
            <a:ext cx="12192000" cy="6858000"/>
          </a:xfrm>
          <a:custGeom>
            <a:avLst/>
            <a:gdLst>
              <a:gd name="connsiteX0" fmla="*/ 0 w 25920700"/>
              <a:gd name="connsiteY0" fmla="*/ 0 h 14579600"/>
              <a:gd name="connsiteX1" fmla="*/ 24283308 w 25920700"/>
              <a:gd name="connsiteY1" fmla="*/ 0 h 14579600"/>
              <a:gd name="connsiteX2" fmla="*/ 24283308 w 25920700"/>
              <a:gd name="connsiteY2" fmla="*/ 1638001 h 14579600"/>
              <a:gd name="connsiteX3" fmla="*/ 25920700 w 25920700"/>
              <a:gd name="connsiteY3" fmla="*/ 1638001 h 14579600"/>
              <a:gd name="connsiteX4" fmla="*/ 25920700 w 25920700"/>
              <a:gd name="connsiteY4" fmla="*/ 14579600 h 14579600"/>
              <a:gd name="connsiteX5" fmla="*/ 0 w 25920700"/>
              <a:gd name="connsiteY5" fmla="*/ 14579600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20700" h="14579600">
                <a:moveTo>
                  <a:pt x="0" y="0"/>
                </a:moveTo>
                <a:lnTo>
                  <a:pt x="24283308" y="0"/>
                </a:lnTo>
                <a:lnTo>
                  <a:pt x="24283308" y="1638001"/>
                </a:lnTo>
                <a:lnTo>
                  <a:pt x="25920700" y="1638001"/>
                </a:lnTo>
                <a:lnTo>
                  <a:pt x="25920700" y="14579600"/>
                </a:lnTo>
                <a:lnTo>
                  <a:pt x="0" y="145796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1BDE690-EC22-ABA0-C137-F94CBEE9D4C7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580AA68-D6C6-BA02-FC81-37EB025AA621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9ABC8FE-C84E-2A7F-BC43-A521F6625D5D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05969044-929B-7DC4-6727-42644AAA5D7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1D52BDF6-16C4-C977-D72E-F200A39CA07C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5B6B3A-981F-5054-5CD2-E0D77FFC9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ТАКОЕ НАЗВАНИЕ</a:t>
            </a:r>
            <a:br>
              <a:rPr lang="ru-RU" dirty="0"/>
            </a:br>
            <a:r>
              <a:rPr lang="ru-RU" dirty="0"/>
              <a:t>ПРЕЗЕНТАЦИИ </a:t>
            </a:r>
            <a:br>
              <a:rPr lang="ru-RU" dirty="0"/>
            </a:br>
            <a:r>
              <a:rPr lang="ru-RU" dirty="0"/>
              <a:t>3-4 СТРОКИ</a:t>
            </a:r>
            <a:endParaRPr lang="en-RU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0F4C54F-5523-F244-C755-7C50724BDE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64169" y="6561683"/>
            <a:ext cx="1771155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33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 err="1"/>
              <a:t>Д</a:t>
            </a:r>
            <a:r>
              <a:rPr lang="ru-RU" dirty="0" err="1"/>
              <a:t>олжность</a:t>
            </a:r>
            <a:r>
              <a:rPr lang="ru-RU" dirty="0"/>
              <a:t> автора</a:t>
            </a:r>
            <a:endParaRPr lang="en-RU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06BB734-593F-2DD6-06C5-37E800FEDB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45409" y="6561683"/>
            <a:ext cx="1748415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33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 err="1"/>
              <a:t>И</a:t>
            </a:r>
            <a:r>
              <a:rPr lang="ru-RU" dirty="0" err="1"/>
              <a:t>мя</a:t>
            </a:r>
            <a:r>
              <a:rPr lang="ru-RU" dirty="0"/>
              <a:t> Фамилия</a:t>
            </a:r>
            <a:endParaRPr lang="en-RU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5BACAA-2574-A894-86D6-54F93B879A6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821072" y="6561683"/>
            <a:ext cx="1188637" cy="2034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E988F7-6ECB-F94F-8679-A0D42C8C5318}" type="datetimeFigureOut">
              <a:rPr lang="ru-RU" smtClean="0"/>
              <a:t>11.03.20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835362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41" name="Table Placeholder 40">
            <a:extLst>
              <a:ext uri="{FF2B5EF4-FFF2-40B4-BE49-F238E27FC236}">
                <a16:creationId xmlns:a16="http://schemas.microsoft.com/office/drawing/2014/main" id="{C98EE4DE-18C5-37A7-6680-05FE6302CE9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90407" y="1473326"/>
            <a:ext cx="11811187" cy="46824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5" b="0" i="0"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06058" y="1000611"/>
            <a:ext cx="1641022" cy="25618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753" b="0" i="0" spc="0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ыполненные задачи</a:t>
            </a:r>
            <a:endParaRPr lang="en-RU" dirty="0"/>
          </a:p>
        </p:txBody>
      </p:sp>
      <p:sp>
        <p:nvSpPr>
          <p:cNvPr id="53" name="Picture Placeholder 25">
            <a:extLst>
              <a:ext uri="{FF2B5EF4-FFF2-40B4-BE49-F238E27FC236}">
                <a16:creationId xmlns:a16="http://schemas.microsoft.com/office/drawing/2014/main" id="{56F69510-1947-9C4A-234E-3DF188BB048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666E2C45-8A5B-2FE8-6255-B27E264791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9" name="Title 58">
            <a:extLst>
              <a:ext uri="{FF2B5EF4-FFF2-40B4-BE49-F238E27FC236}">
                <a16:creationId xmlns:a16="http://schemas.microsoft.com/office/drawing/2014/main" id="{0462E639-32ED-BA57-A0B0-7AF2B11151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5312719" cy="418288"/>
          </a:xfrm>
        </p:spPr>
        <p:txBody>
          <a:bodyPr/>
          <a:lstStyle/>
          <a:p>
            <a:r>
              <a:rPr lang="ru-RU" dirty="0"/>
              <a:t>Слайд с таблицей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BCB5EAD-D673-475E-3B1E-7AC82FE057B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9474CC-ABAB-FF79-60DD-8D62B637916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2A99126-3E35-379B-D9F5-2D6D804F7001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D7B5379-7A94-1274-00E1-7B18C92D21B8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293C2B84-10EE-6B34-A896-982F94A05C6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963E9B1-01CC-8CC4-53CD-8273B2A11B8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52F7545F-E68C-0ED1-B6B6-8D534327A7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3EC7AEF-358E-32BF-90EC-3F92E791C9E6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Picture Placeholder 25">
            <a:extLst>
              <a:ext uri="{FF2B5EF4-FFF2-40B4-BE49-F238E27FC236}">
                <a16:creationId xmlns:a16="http://schemas.microsoft.com/office/drawing/2014/main" id="{A1B1BC68-21EB-6228-FE81-2C8F29FDC24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01455150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41" name="Table Placeholder 40">
            <a:extLst>
              <a:ext uri="{FF2B5EF4-FFF2-40B4-BE49-F238E27FC236}">
                <a16:creationId xmlns:a16="http://schemas.microsoft.com/office/drawing/2014/main" id="{C98EE4DE-18C5-37A7-6680-05FE6302CE9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190407" y="1473326"/>
            <a:ext cx="11811187" cy="46824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5" b="0" i="0"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таблицы</a:t>
            </a:r>
            <a:endParaRPr lang="en-RU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06058" y="1000611"/>
            <a:ext cx="1641022" cy="25618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753" b="0" i="0" spc="0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ыполненные задачи</a:t>
            </a:r>
            <a:endParaRPr lang="en-RU" dirty="0"/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666E2C45-8A5B-2FE8-6255-B27E264791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9" name="Title 58">
            <a:extLst>
              <a:ext uri="{FF2B5EF4-FFF2-40B4-BE49-F238E27FC236}">
                <a16:creationId xmlns:a16="http://schemas.microsoft.com/office/drawing/2014/main" id="{0462E639-32ED-BA57-A0B0-7AF2B11151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5312719" cy="418288"/>
          </a:xfrm>
        </p:spPr>
        <p:txBody>
          <a:bodyPr/>
          <a:lstStyle/>
          <a:p>
            <a:r>
              <a:rPr lang="ru-RU" dirty="0"/>
              <a:t>Слайд с таблицей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BCB5EAD-D673-475E-3B1E-7AC82FE057B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59474CC-ABAB-FF79-60DD-8D62B637916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2A99126-3E35-379B-D9F5-2D6D804F7001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D7B5379-7A94-1274-00E1-7B18C92D21B8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293C2B84-10EE-6B34-A896-982F94A05C6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963E9B1-01CC-8CC4-53CD-8273B2A11B8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52F7545F-E68C-0ED1-B6B6-8D534327A7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30024626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4 пун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32377" y="2156798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1</a:t>
            </a:r>
            <a:endParaRPr lang="en-RU" dirty="0"/>
          </a:p>
        </p:txBody>
      </p:sp>
      <p:sp>
        <p:nvSpPr>
          <p:cNvPr id="53" name="Picture Placeholder 25">
            <a:extLst>
              <a:ext uri="{FF2B5EF4-FFF2-40B4-BE49-F238E27FC236}">
                <a16:creationId xmlns:a16="http://schemas.microsoft.com/office/drawing/2014/main" id="{56F69510-1947-9C4A-234E-3DF188BB048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88B1068-49AB-7E60-59DD-CD56DF3F8B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22819" y="2443543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2C541CF-B692-C25D-29EB-67A5961303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7" y="3227877"/>
            <a:ext cx="4119165" cy="911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6D1EB518-886B-DBA8-AA5E-A5807CC492F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7" y="4526667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</a:t>
            </a:r>
            <a:r>
              <a:rPr lang="en-US" dirty="0"/>
              <a:t>2</a:t>
            </a:r>
            <a:endParaRPr lang="en-RU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CAF0B02-BC50-8A88-5C0B-7C4639AEBEC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22819" y="4813412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491A200-F6EA-54DF-6257-50478EA3D3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32377" y="5597745"/>
            <a:ext cx="4119165" cy="8724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E1EFC34-AB7D-D88D-BCE9-170FB0D95A7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51878" y="2156798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</a:t>
            </a:r>
            <a:r>
              <a:rPr lang="en-US" dirty="0"/>
              <a:t>3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C424C04A-C4E1-2EC3-ADB0-58491650084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42320" y="2443543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D6BC0D2-AF04-B0A8-39F6-0D8751D2A2B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51878" y="3227877"/>
            <a:ext cx="4119165" cy="911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7297774-CD52-4A50-CF0B-E3C4E9C4346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51878" y="4526667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</a:t>
            </a:r>
            <a:r>
              <a:rPr lang="en-US" dirty="0"/>
              <a:t>4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2C3B1D5B-2E28-6916-B3F5-BED76AA1874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42320" y="4813412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B9E661FA-3186-28A1-2B35-8DFA11D0572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51878" y="5597745"/>
            <a:ext cx="4119165" cy="8724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D327555-9B9E-6490-575B-05FE259A3E8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54E8029-E017-26B1-CC61-BB149531C3C1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885AFE56-6BE1-FDC4-1BBB-41708576FE9C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C278FA35-914A-77A0-5A67-FFC86D7B4784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94DFBEBA-0B82-56A6-6D61-10AD4D8F1613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5262A8C9-6E20-C7EC-4F90-9330BBD67B6B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Picture Placeholder 25">
            <a:extLst>
              <a:ext uri="{FF2B5EF4-FFF2-40B4-BE49-F238E27FC236}">
                <a16:creationId xmlns:a16="http://schemas.microsoft.com/office/drawing/2014/main" id="{79E702BD-B2DD-A44B-9B1E-5FECDD3DAA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285287135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4 пункт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32377" y="2156798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1</a:t>
            </a:r>
            <a:endParaRPr lang="en-RU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88B1068-49AB-7E60-59DD-CD56DF3F8B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22819" y="2443543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2C541CF-B692-C25D-29EB-67A5961303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7" y="3227877"/>
            <a:ext cx="4119165" cy="911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6D1EB518-886B-DBA8-AA5E-A5807CC492F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7" y="4526667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</a:t>
            </a:r>
            <a:r>
              <a:rPr lang="en-US" dirty="0"/>
              <a:t>2</a:t>
            </a:r>
            <a:endParaRPr lang="en-RU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8CAF0B02-BC50-8A88-5C0B-7C4639AEBEC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22819" y="4813412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491A200-F6EA-54DF-6257-50478EA3D3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32377" y="5597745"/>
            <a:ext cx="4119165" cy="8724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E1EFC34-AB7D-D88D-BCE9-170FB0D95A7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51878" y="2156798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</a:t>
            </a:r>
            <a:r>
              <a:rPr lang="en-US" dirty="0"/>
              <a:t>3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C424C04A-C4E1-2EC3-ADB0-58491650084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42320" y="2443543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D6BC0D2-AF04-B0A8-39F6-0D8751D2A2B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51878" y="3227877"/>
            <a:ext cx="4119165" cy="911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7297774-CD52-4A50-CF0B-E3C4E9C4346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51878" y="4526667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</a:t>
            </a:r>
            <a:r>
              <a:rPr lang="en-US" dirty="0"/>
              <a:t>4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2C3B1D5B-2E28-6916-B3F5-BED76AA1874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42320" y="4813412"/>
            <a:ext cx="4119165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работка платформы внутри АФК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B9E661FA-3186-28A1-2B35-8DFA11D0572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51878" y="5597745"/>
            <a:ext cx="4119165" cy="8724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EC59C2E-7B0E-A5CC-EDBD-C7BAD3F399D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DE1D83C-2A47-8F5D-5171-0066B3DC745B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21C27DAC-5BED-4A02-C1D3-438D3B09C54C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79A32B62-905E-CA69-82D3-B79CA38B40BF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3D90D2F7-D94E-5B02-AF76-475076E7E362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56868372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505DA091-ACF9-2282-4FA0-8C637985DB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64574" y="3429000"/>
            <a:ext cx="4927426" cy="343497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22" b="0" i="0">
                <a:solidFill>
                  <a:schemeClr val="bg1">
                    <a:lumMod val="6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71E3BD7C-2380-D79F-FD8F-E19B9EFE99A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0410" y="5745154"/>
            <a:ext cx="1765590" cy="99390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317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Олег</a:t>
            </a:r>
            <a:r>
              <a:rPr lang="en-US" dirty="0"/>
              <a:t> </a:t>
            </a:r>
            <a:r>
              <a:rPr lang="ru-RU" dirty="0"/>
              <a:t>Шаповалов</a:t>
            </a:r>
            <a:endParaRPr lang="en-US" dirty="0"/>
          </a:p>
          <a:p>
            <a:pPr lvl="0"/>
            <a:endParaRPr lang="en-US" dirty="0"/>
          </a:p>
          <a:p>
            <a:pPr lvl="0"/>
            <a:r>
              <a:rPr lang="ru-RU" dirty="0"/>
              <a:t>Директор отдела финансов</a:t>
            </a:r>
            <a:endParaRPr lang="en-RU" dirty="0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1C865DE8-16BD-16C7-83DD-98AE22FC5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8852043" cy="1985882"/>
          </a:xfrm>
        </p:spPr>
        <p:txBody>
          <a:bodyPr/>
          <a:lstStyle/>
          <a:p>
            <a:r>
              <a:rPr lang="ru-RU" dirty="0"/>
              <a:t>«Мы повысили популярность среди возрастной категории 20-35 лет на 40%*, перевыполнив поставленную цель в два раза».</a:t>
            </a:r>
            <a:endParaRPr lang="en-RU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4AFAE32-F8EC-3EDF-53F9-450467628D17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891731B-E1E2-BC79-507E-4B3D0DED7E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867D774-5853-3C50-C6D6-E0AC9B6C02B9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60918BF8-BF47-189F-A481-13ACE8CD7783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B6B8EB4-3366-A579-86AC-A715C852C891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4807687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зображени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505DA091-ACF9-2282-4FA0-8C637985DB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104855"/>
            <a:ext cx="8449576" cy="475314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22" b="0" i="0">
                <a:solidFill>
                  <a:schemeClr val="bg1">
                    <a:lumMod val="6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1583D41-5EBE-834F-0501-FE41984EF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1"/>
            <a:ext cx="8852043" cy="993902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ru-RU" dirty="0"/>
              <a:t>Презентация </a:t>
            </a:r>
            <a:r>
              <a:rPr lang="en-GB" dirty="0"/>
              <a:t>CGI </a:t>
            </a:r>
            <a:br>
              <a:rPr lang="ru-RU" dirty="0"/>
            </a:br>
            <a:r>
              <a:rPr lang="ru-RU" dirty="0"/>
              <a:t>контента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981DFC9F-D636-D2D7-2044-EF56C26780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55483" y="2104855"/>
            <a:ext cx="2946111" cy="127840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Tx/>
              <a:buNone/>
              <a:defRPr sz="1317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ы сделали немного контента, </a:t>
            </a:r>
            <a:br>
              <a:rPr lang="ru-RU" dirty="0"/>
            </a:br>
            <a:r>
              <a:rPr lang="ru-RU" dirty="0"/>
              <a:t>и предлагаем его посмотреть. </a:t>
            </a:r>
            <a:br>
              <a:rPr lang="ru-RU" dirty="0"/>
            </a:br>
            <a:r>
              <a:rPr lang="ru-RU" dirty="0"/>
              <a:t>Он очень красивый, и в целом интересно увидеть, как он работает.</a:t>
            </a:r>
            <a:endParaRPr lang="en-RU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B999D1B-A1A5-3007-DDAD-8AFB905F4A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55483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6C4D18E-493B-79E6-BC3A-786DF5BA9C5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492215A-7FAD-09F2-232C-647FB53267F2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0991698A-1746-F765-6F1C-C60BC6A785E2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AB4C9F6-BAAB-0FCD-7D6F-17335345092E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80429F10-92ED-70F7-34C3-51F1AF6DFA3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68363611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идео-фай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5223ED97-CC1F-5077-11BE-2671EB05C7F2}"/>
              </a:ext>
            </a:extLst>
          </p:cNvPr>
          <p:cNvSpPr>
            <a:spLocks noGrp="1"/>
          </p:cNvSpPr>
          <p:nvPr>
            <p:ph type="media" sz="quarter" idx="28"/>
          </p:nvPr>
        </p:nvSpPr>
        <p:spPr>
          <a:xfrm>
            <a:off x="0" y="2104855"/>
            <a:ext cx="8449576" cy="4753145"/>
          </a:xfrm>
        </p:spPr>
        <p:txBody>
          <a:bodyPr anchor="ctr"/>
          <a:lstStyle>
            <a:lvl1pPr algn="ctr">
              <a:defRPr b="0" i="0">
                <a:solidFill>
                  <a:schemeClr val="bg1">
                    <a:lumMod val="6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клипа мультимедиа</a:t>
            </a:r>
            <a:endParaRPr lang="en-R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1583D41-5EBE-834F-0501-FE41984EF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1"/>
            <a:ext cx="8852043" cy="993902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ru-RU" dirty="0"/>
              <a:t>Презентация </a:t>
            </a:r>
            <a:r>
              <a:rPr lang="en-GB" dirty="0"/>
              <a:t>CGI </a:t>
            </a:r>
            <a:br>
              <a:rPr lang="ru-RU" dirty="0"/>
            </a:br>
            <a:r>
              <a:rPr lang="ru-RU" dirty="0"/>
              <a:t>контента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981DFC9F-D636-D2D7-2044-EF56C26780F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55483" y="2104855"/>
            <a:ext cx="2946111" cy="127840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Tx/>
              <a:buNone/>
              <a:defRPr sz="1317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ы сделали немного контента, </a:t>
            </a:r>
            <a:br>
              <a:rPr lang="ru-RU" dirty="0"/>
            </a:br>
            <a:r>
              <a:rPr lang="ru-RU" dirty="0"/>
              <a:t>и предлагаем его посмотреть. </a:t>
            </a:r>
            <a:br>
              <a:rPr lang="ru-RU" dirty="0"/>
            </a:br>
            <a:r>
              <a:rPr lang="ru-RU" dirty="0"/>
              <a:t>Он очень красивый, и в целом интересно увидеть, как он работает.</a:t>
            </a:r>
            <a:endParaRPr lang="en-RU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B999D1B-A1A5-3007-DDAD-8AFB905F4A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55483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6C4D18E-493B-79E6-BC3A-786DF5BA9C5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492215A-7FAD-09F2-232C-647FB53267F2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0991698A-1746-F765-6F1C-C60BC6A785E2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AB4C9F6-BAAB-0FCD-7D6F-17335345092E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80429F10-92ED-70F7-34C3-51F1AF6DFA3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03568796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зображение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628A071C-65D9-D9E7-EBEC-5DFB12354FB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4BE8238-146A-C1B4-4C9A-A25AF18537F1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DC3AF5C1-8F89-2ECD-BC28-909E1E4C49DB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A2CCF2B2-3364-4ACA-6054-54438670D97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321B5D4-1442-AFF1-8D89-32EBC8EC4ACC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1583D41-5EBE-834F-0501-FE41984EF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1453943"/>
            <a:ext cx="5319138" cy="1944334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«Мы повысили популярность среди возрастной категории 20-35 лет на 40%*, перевыполнив поставленную цель в два раза».</a:t>
            </a:r>
            <a:endParaRPr lang="en-R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739FB8A-D47D-741A-CFF8-0170A6F651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51147" y="5745154"/>
            <a:ext cx="1765590" cy="99390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317" b="0" i="0" spc="28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Олег</a:t>
            </a:r>
            <a:r>
              <a:rPr lang="en-US" dirty="0"/>
              <a:t> </a:t>
            </a:r>
            <a:r>
              <a:rPr lang="ru-RU" dirty="0"/>
              <a:t>Шаповалов</a:t>
            </a:r>
            <a:endParaRPr lang="en-US" dirty="0"/>
          </a:p>
          <a:p>
            <a:pPr lvl="0"/>
            <a:endParaRPr lang="en-US" dirty="0"/>
          </a:p>
          <a:p>
            <a:pPr lvl="0"/>
            <a:r>
              <a:rPr lang="ru-RU" dirty="0"/>
              <a:t>Директор отдела финансов</a:t>
            </a:r>
            <a:endParaRPr lang="en-RU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FF7DC41-8029-66EE-19B0-346BC797F22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12960350"/>
              <a:gd name="connsiteY0" fmla="*/ 0 h 14579600"/>
              <a:gd name="connsiteX1" fmla="*/ 11322350 w 12960350"/>
              <a:gd name="connsiteY1" fmla="*/ 0 h 14579600"/>
              <a:gd name="connsiteX2" fmla="*/ 11322350 w 12960350"/>
              <a:gd name="connsiteY2" fmla="*/ 1638000 h 14579600"/>
              <a:gd name="connsiteX3" fmla="*/ 12960350 w 12960350"/>
              <a:gd name="connsiteY3" fmla="*/ 1638000 h 14579600"/>
              <a:gd name="connsiteX4" fmla="*/ 12960350 w 12960350"/>
              <a:gd name="connsiteY4" fmla="*/ 14579600 h 14579600"/>
              <a:gd name="connsiteX5" fmla="*/ 0 w 12960350"/>
              <a:gd name="connsiteY5" fmla="*/ 14579600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60350" h="14579600">
                <a:moveTo>
                  <a:pt x="0" y="0"/>
                </a:moveTo>
                <a:lnTo>
                  <a:pt x="11322350" y="0"/>
                </a:lnTo>
                <a:lnTo>
                  <a:pt x="11322350" y="1638000"/>
                </a:lnTo>
                <a:lnTo>
                  <a:pt x="12960350" y="1638000"/>
                </a:lnTo>
                <a:lnTo>
                  <a:pt x="12960350" y="14579600"/>
                </a:lnTo>
                <a:lnTo>
                  <a:pt x="0" y="145796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b="0" i="0">
                <a:solidFill>
                  <a:schemeClr val="accent1">
                    <a:lumMod val="60000"/>
                    <a:lumOff val="4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39865222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зображение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0AFDC63-E252-D496-6A0E-40609A627068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852C25B-E413-8A1D-9762-0CF214DA7B8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349DEBBE-9613-517E-88ED-62460BC49DAB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5847C801-1610-4930-B5C7-1A0E13D05783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CA3D74B5-0B0A-AB28-C30C-FC5CEDFF2C97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1583D41-5EBE-834F-0501-FE41984EF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1453943"/>
            <a:ext cx="5319138" cy="1944334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«Мы повысили популярность среди возрастной категории 20-35 лет на 40%*, перевыполнив поставленную цель в два раза».</a:t>
            </a:r>
            <a:endParaRPr lang="en-R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739FB8A-D47D-741A-CFF8-0170A6F651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51147" y="5745154"/>
            <a:ext cx="1765590" cy="99390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317" b="0" i="0" spc="28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Олег</a:t>
            </a:r>
            <a:r>
              <a:rPr lang="en-US" dirty="0"/>
              <a:t> </a:t>
            </a:r>
            <a:r>
              <a:rPr lang="ru-RU" dirty="0"/>
              <a:t>Шаповалов</a:t>
            </a:r>
            <a:endParaRPr lang="en-US" dirty="0"/>
          </a:p>
          <a:p>
            <a:pPr lvl="0"/>
            <a:endParaRPr lang="en-US" dirty="0"/>
          </a:p>
          <a:p>
            <a:pPr lvl="0"/>
            <a:r>
              <a:rPr lang="ru-RU" dirty="0"/>
              <a:t>Директор отдела финансов</a:t>
            </a:r>
            <a:endParaRPr lang="en-RU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FF7DC41-8029-66EE-19B0-346BC797F22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12960350"/>
              <a:gd name="connsiteY0" fmla="*/ 0 h 14579600"/>
              <a:gd name="connsiteX1" fmla="*/ 11322350 w 12960350"/>
              <a:gd name="connsiteY1" fmla="*/ 0 h 14579600"/>
              <a:gd name="connsiteX2" fmla="*/ 11322350 w 12960350"/>
              <a:gd name="connsiteY2" fmla="*/ 1638000 h 14579600"/>
              <a:gd name="connsiteX3" fmla="*/ 12960350 w 12960350"/>
              <a:gd name="connsiteY3" fmla="*/ 1638000 h 14579600"/>
              <a:gd name="connsiteX4" fmla="*/ 12960350 w 12960350"/>
              <a:gd name="connsiteY4" fmla="*/ 14579600 h 14579600"/>
              <a:gd name="connsiteX5" fmla="*/ 0 w 12960350"/>
              <a:gd name="connsiteY5" fmla="*/ 14579600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60350" h="14579600">
                <a:moveTo>
                  <a:pt x="0" y="0"/>
                </a:moveTo>
                <a:lnTo>
                  <a:pt x="11322350" y="0"/>
                </a:lnTo>
                <a:lnTo>
                  <a:pt x="11322350" y="1638000"/>
                </a:lnTo>
                <a:lnTo>
                  <a:pt x="12960350" y="1638000"/>
                </a:lnTo>
                <a:lnTo>
                  <a:pt x="12960350" y="14579600"/>
                </a:lnTo>
                <a:lnTo>
                  <a:pt x="0" y="145796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b="0" i="0">
                <a:solidFill>
                  <a:schemeClr val="bg2">
                    <a:lumMod val="7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17579500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Акциден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CC3FE9EA-88CA-AF4D-0AB6-63C781E815C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CBC8212-1124-90A2-8BE9-084D21FF10C7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16EBB01-2B75-9005-F4E4-A6442E5ACB6E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0BB2000B-DC36-F2B6-E552-54E2BC39B37B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264391C5-E1FE-BADE-82C6-AFDE1F4E5050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1583D41-5EBE-834F-0501-FE41984EF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2355515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5 лет</a:t>
            </a:r>
            <a:br>
              <a:rPr lang="ru-RU" dirty="0"/>
            </a:br>
            <a:r>
              <a:rPr lang="ru-RU" dirty="0"/>
              <a:t>подряд</a:t>
            </a:r>
            <a:endParaRPr lang="en-RU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8694C4A-260F-4D53-8D33-6FE75C84F39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7" y="742117"/>
            <a:ext cx="7688696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tabLst/>
              <a:defRPr lang="en-GB" sz="2352" b="0" i="0" cap="none" spc="71" baseline="0" smtClean="0">
                <a:latin typeface="MTS Text Medium" panose="020B0306020102020303" pitchFamily="34" charset="0"/>
                <a:ea typeface="MTS Text Medium" panose="020B0306020102020303" pitchFamily="34" charset="0"/>
                <a:cs typeface="Arial Black" charset="0"/>
              </a:defRPr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RU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r>
              <a:rPr lang="ru-RU" dirty="0"/>
              <a:t>В кино мы сопереживаем героям, испытываем те же эмоции. Все дело в законах драматургии, которые одинаковы для всех видов контента.</a:t>
            </a:r>
            <a:endParaRPr lang="en-RU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FF4392F-1A47-B834-7BEB-8C87A89355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288D46-2543-4E45-CAAC-38036CDA36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53BBECB-1B4A-95D1-8EA6-05583EE577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283E1332-A7B1-9228-CE52-BCEAEE317B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32377" y="1796954"/>
            <a:ext cx="8289783" cy="32472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2579" b="0" i="0">
                <a:solidFill>
                  <a:srgbClr val="010604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49</a:t>
            </a:r>
            <a:r>
              <a:rPr lang="en-US" dirty="0"/>
              <a:t>%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50823471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5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C9C77EDC-96CA-D59B-1899-C4D7C9ED6E7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47"/>
            <a:ext cx="12192000" cy="6858000"/>
          </a:xfrm>
          <a:custGeom>
            <a:avLst/>
            <a:gdLst>
              <a:gd name="connsiteX0" fmla="*/ 0 w 25920700"/>
              <a:gd name="connsiteY0" fmla="*/ 0 h 14579600"/>
              <a:gd name="connsiteX1" fmla="*/ 24283308 w 25920700"/>
              <a:gd name="connsiteY1" fmla="*/ 0 h 14579600"/>
              <a:gd name="connsiteX2" fmla="*/ 24283308 w 25920700"/>
              <a:gd name="connsiteY2" fmla="*/ 1638001 h 14579600"/>
              <a:gd name="connsiteX3" fmla="*/ 25920700 w 25920700"/>
              <a:gd name="connsiteY3" fmla="*/ 1638001 h 14579600"/>
              <a:gd name="connsiteX4" fmla="*/ 25920700 w 25920700"/>
              <a:gd name="connsiteY4" fmla="*/ 14579600 h 14579600"/>
              <a:gd name="connsiteX5" fmla="*/ 0 w 25920700"/>
              <a:gd name="connsiteY5" fmla="*/ 14579600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20700" h="14579600">
                <a:moveTo>
                  <a:pt x="0" y="0"/>
                </a:moveTo>
                <a:lnTo>
                  <a:pt x="24283308" y="0"/>
                </a:lnTo>
                <a:lnTo>
                  <a:pt x="24283308" y="1638001"/>
                </a:lnTo>
                <a:lnTo>
                  <a:pt x="25920700" y="1638001"/>
                </a:lnTo>
                <a:lnTo>
                  <a:pt x="25920700" y="14579600"/>
                </a:lnTo>
                <a:lnTo>
                  <a:pt x="0" y="145796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1BDE690-EC22-ABA0-C137-F94CBEE9D4C7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580AA68-D6C6-BA02-FC81-37EB025AA621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9ABC8FE-C84E-2A7F-BC43-A521F6625D5D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05969044-929B-7DC4-6727-42644AAA5D7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1D52BDF6-16C4-C977-D72E-F200A39CA07C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5B6B3A-981F-5054-5CD2-E0D77FFC9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ТАКОЕ НАЗВАНИЕ</a:t>
            </a:r>
            <a:br>
              <a:rPr lang="ru-RU" dirty="0"/>
            </a:br>
            <a:r>
              <a:rPr lang="ru-RU" dirty="0"/>
              <a:t>ПРЕЗЕНТАЦИИ </a:t>
            </a:r>
            <a:br>
              <a:rPr lang="ru-RU" dirty="0"/>
            </a:br>
            <a:r>
              <a:rPr lang="ru-RU" dirty="0"/>
              <a:t>3-4 СТРОКИ</a:t>
            </a:r>
            <a:endParaRPr lang="en-RU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0F4C54F-5523-F244-C755-7C50724BDE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64169" y="6561684"/>
            <a:ext cx="1771155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33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 err="1"/>
              <a:t>Д</a:t>
            </a:r>
            <a:r>
              <a:rPr lang="ru-RU" dirty="0" err="1"/>
              <a:t>олжность</a:t>
            </a:r>
            <a:r>
              <a:rPr lang="ru-RU" dirty="0"/>
              <a:t> автора</a:t>
            </a:r>
            <a:endParaRPr lang="en-RU" dirty="0"/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C06BB734-593F-2DD6-06C5-37E800FEDB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45409" y="6561684"/>
            <a:ext cx="1748415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33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 err="1"/>
              <a:t>И</a:t>
            </a:r>
            <a:r>
              <a:rPr lang="ru-RU" dirty="0" err="1"/>
              <a:t>мя</a:t>
            </a:r>
            <a:r>
              <a:rPr lang="ru-RU" dirty="0"/>
              <a:t> Фамилия</a:t>
            </a:r>
            <a:endParaRPr lang="en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4845D1-5C1F-0AF2-0480-C69AD067E0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2992" y="3180142"/>
            <a:ext cx="3542259" cy="130474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defRPr lang="en-GB" sz="1317" b="0" i="0" spc="33" baseline="0" smtClean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>
              <a:defRPr lang="en-GB" sz="1317" b="0" i="0" smtClean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>
              <a:defRPr lang="en-GB" sz="1317" b="0" i="0" smtClean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>
              <a:defRPr lang="en-GB" sz="1317" b="0" i="0" smtClean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>
              <a:defRPr lang="en-RU" sz="1317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ru-RU" dirty="0"/>
              <a:t>Руководство для создания слайдов, которые будут усиливать ваши идеи</a:t>
            </a:r>
            <a:endParaRPr lang="en-RU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3EA799C-A8D1-E492-30A7-3F2F27B7FBB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E988F7-6ECB-F94F-8679-A0D42C8C5318}" type="datetimeFigureOut">
              <a:rPr lang="ru-RU" smtClean="0"/>
              <a:t>11.03.20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6901951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Акциденция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FF4392F-1A47-B834-7BEB-8C87A89355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288D46-2543-4E45-CAAC-38036CDA36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53BBECB-1B4A-95D1-8EA6-05583EE577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94D9F986-AA09-70A2-C715-567F1A44A0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869734" y="5446360"/>
            <a:ext cx="2951338" cy="99390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Tx/>
              <a:buNone/>
              <a:defRPr sz="1317" b="0" i="0" spc="28" baseline="0">
                <a:solidFill>
                  <a:schemeClr val="accent6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оличество пользователей, присоединившихся в этом году </a:t>
            </a:r>
            <a:br>
              <a:rPr lang="ru-RU" dirty="0"/>
            </a:br>
            <a:r>
              <a:rPr lang="ru-RU" dirty="0"/>
              <a:t>в сервису </a:t>
            </a:r>
            <a:r>
              <a:rPr lang="en-GB" dirty="0"/>
              <a:t>KION.</a:t>
            </a:r>
            <a:endParaRPr lang="en-RU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95F6980-10DF-088C-6484-4B1B3181CA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ru-RU" dirty="0"/>
              <a:t>Достижения</a:t>
            </a:r>
            <a:endParaRPr lang="en-RU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A73F72-B0D9-442C-2ACD-222C4B09EA7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D7AC0E4-61CA-2DC3-0D80-7B89836FA60F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8BD514D-49CD-E291-3335-EFB47F596C17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E4325F05-EDB9-1846-0640-77FB27264DF9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C50912AB-9D88-4FD1-FCA2-A8725203573A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927C87-3BF7-1E49-EAF4-AFA5126886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54148" y="2209737"/>
            <a:ext cx="9683706" cy="2438528"/>
          </a:xfrm>
          <a:prstGeom prst="roundRect">
            <a:avLst>
              <a:gd name="adj" fmla="val 50000"/>
            </a:avLst>
          </a:prstGeom>
          <a:ln w="25400">
            <a:solidFill>
              <a:schemeClr val="accent6"/>
            </a:solidFill>
          </a:ln>
        </p:spPr>
        <p:txBody>
          <a:bodyPr wrap="none" lIns="1620000" tIns="468000" rIns="1620000" bIns="468000" anchor="ctr">
            <a:spAutoFit/>
          </a:bodyPr>
          <a:lstStyle>
            <a:lvl1pPr algn="ctr">
              <a:defRPr sz="5127" b="0" i="0" cap="all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</a:lstStyle>
          <a:p>
            <a:pPr lvl="0"/>
            <a:r>
              <a:rPr lang="ru-RU" dirty="0"/>
              <a:t>6 миллионов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07022813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E803689-4647-EFC6-E5C4-A3E919596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32377" y="2836300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1</a:t>
            </a:r>
            <a:endParaRPr lang="en-RU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88B1068-49AB-7E60-59DD-CD56DF3F8B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0407" y="2836300"/>
            <a:ext cx="2334360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solidFill>
                  <a:schemeClr val="bg1">
                    <a:lumMod val="5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Сделано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2C541CF-B692-C25D-29EB-67A5961303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7" y="3001663"/>
            <a:ext cx="2673907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solidFill>
                  <a:schemeClr val="bg1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</a:t>
            </a:r>
          </a:p>
          <a:p>
            <a:pPr rtl="0"/>
            <a:br>
              <a:rPr lang="ru-RU" dirty="0"/>
            </a:br>
            <a:endParaRPr lang="ru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1"/>
            <a:ext cx="5905593" cy="1204420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C04CC56-FDBA-5FC9-3A96-E4AF2FA24B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132377" y="3569095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2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F072FEB3-EFDC-ACF7-5651-4074420B81E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32377" y="3734457"/>
            <a:ext cx="2673907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solidFill>
                  <a:schemeClr val="bg1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br>
              <a:rPr lang="ru-RU" dirty="0"/>
            </a:br>
            <a:endParaRPr lang="ru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2F50C80B-D20E-B93A-1537-D59E2BE54BA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32377" y="4429332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bg1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3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2A9FCBB-5A23-92C6-FCD5-6975E677CD4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32377" y="4594694"/>
            <a:ext cx="2673907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solidFill>
                  <a:schemeClr val="bg1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Сделали аналитику по характеристикам аудитории сайта Первого канала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F931DA1-182F-6CA9-850E-153A23079554}"/>
              </a:ext>
            </a:extLst>
          </p:cNvPr>
          <p:cNvCxnSpPr/>
          <p:nvPr/>
        </p:nvCxnSpPr>
        <p:spPr>
          <a:xfrm>
            <a:off x="190407" y="2661358"/>
            <a:ext cx="5615876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E3313CE4-539A-14A6-20F0-26E88C3B38F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28434" y="2836300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1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386F9A0-6312-86AE-AAF6-0877FDE9C8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86464" y="2836300"/>
            <a:ext cx="2334360" cy="7111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2352" b="0" i="0" spc="71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Планы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59BEE4FB-E3DA-AE25-8896-1A047563120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28433" y="3001663"/>
            <a:ext cx="2673907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</a:t>
            </a:r>
          </a:p>
          <a:p>
            <a:pPr rtl="0"/>
            <a:br>
              <a:rPr lang="ru-RU" dirty="0"/>
            </a:br>
            <a:endParaRPr lang="ru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C438C8CA-69AB-1A6F-1BCC-1AE9FB993BD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28434" y="3569095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2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6F1A4324-6EF1-BE96-8A4C-3E77E2BF68A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328433" y="3734457"/>
            <a:ext cx="2673907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  <a:br>
              <a:rPr lang="ru-RU" dirty="0"/>
            </a:br>
            <a:endParaRPr lang="ru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C55D2D8D-9B43-0A8C-BFC0-A5AE5E018FC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328434" y="4429332"/>
            <a:ext cx="579841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03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F8CF74ED-8A22-59D6-0181-CC1A238F0A8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28433" y="4594694"/>
            <a:ext cx="2673907" cy="4779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28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Сделали аналитику по характеристикам аудитории сайта Первого канала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BAE205D-D7CC-4540-53D0-CD0E9D0CADBC}"/>
              </a:ext>
            </a:extLst>
          </p:cNvPr>
          <p:cNvCxnSpPr/>
          <p:nvPr/>
        </p:nvCxnSpPr>
        <p:spPr>
          <a:xfrm>
            <a:off x="6386464" y="2661358"/>
            <a:ext cx="561587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5BD09882-9865-6E85-7A99-B82FD4B155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267390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3A9BBCD8-49D2-9AD7-428C-6F2CBC64D2D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28433" y="6507468"/>
            <a:ext cx="2673160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A9225A5-2DF1-88D7-61B0-5CBF80B284A7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79E854A-C374-7C8C-1990-21E81B76031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97EA8B19-0645-52F6-A3C6-E00353EF0744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925D155-1ACE-E1A5-5994-7ADDA600FAF9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A9004B87-7105-7A06-80F3-0B2D10FA1B43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051455298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1583D41-5EBE-834F-0501-FE41984EF3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7667890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Немного важного текста, суммирующего общий смысл абзацев, либо факт, который впоследствии подробнее раскрыт в тексте.</a:t>
            </a:r>
            <a:endParaRPr lang="en-RU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FF4392F-1A47-B834-7BEB-8C87A89355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288D46-2543-4E45-CAAC-38036CDA36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53BBECB-1B4A-95D1-8EA6-05583EE577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26AD1E6A-C444-0F8A-6D8D-D47522AE83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3429000"/>
            <a:ext cx="4124731" cy="2931361"/>
          </a:xfrm>
          <a:prstGeom prst="rect">
            <a:avLst/>
          </a:prstGeom>
        </p:spPr>
        <p:txBody>
          <a:bodyPr lIns="0" tIns="0" rIns="0" bIns="0" anchor="t"/>
          <a:lstStyle>
            <a:lvl1pPr marL="241950" indent="-241950">
              <a:spcBef>
                <a:spcPts val="0"/>
              </a:spcBef>
              <a:spcAft>
                <a:spcPts val="3105"/>
              </a:spcAft>
              <a:buFont typeface="+mj-lt"/>
              <a:buAutoNum type="arabicPeriod"/>
              <a:defRPr sz="1317" b="0" i="0" spc="28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</a:t>
            </a:r>
            <a:br>
              <a:rPr lang="ru-RU" dirty="0"/>
            </a:br>
            <a:r>
              <a:rPr lang="ru-RU" dirty="0"/>
              <a:t>он позволяет отслеживать заходы </a:t>
            </a:r>
            <a:br>
              <a:rPr lang="ru-RU" dirty="0"/>
            </a:br>
            <a:r>
              <a:rPr lang="ru-RU" dirty="0"/>
              <a:t>на различные страницы сайта ХХХ  </a:t>
            </a:r>
          </a:p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  </a:t>
            </a:r>
          </a:p>
          <a:p>
            <a:pPr rtl="0"/>
            <a:r>
              <a:rPr lang="ru-RU" dirty="0"/>
              <a:t>Сделали аналитику по характеристикам аудитории сайта Первого канала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36B124F-DBE4-3983-E832-3444F16DDB2A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6720327-6171-6BBF-C360-3FFD5D912052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D1F7C2CA-5019-4864-8ED7-91EEB7EF30B4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281887C-3A03-D29C-81D8-63FA668DEB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066152F4-258C-DC41-A989-E79AEB32D96A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269247538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88B1068-49AB-7E60-59DD-CD56DF3F8B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7" y="2132269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Заголовок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2C541CF-B692-C25D-29EB-67A5961303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6" y="2446120"/>
            <a:ext cx="4132198" cy="826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834154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F931DA1-182F-6CA9-850E-153A23079554}"/>
              </a:ext>
            </a:extLst>
          </p:cNvPr>
          <p:cNvCxnSpPr>
            <a:cxnSpLocks/>
          </p:cNvCxnSpPr>
          <p:nvPr/>
        </p:nvCxnSpPr>
        <p:spPr>
          <a:xfrm>
            <a:off x="3132377" y="2008215"/>
            <a:ext cx="413219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5BD09882-9865-6E85-7A99-B82FD4B155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407" y="2446121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9FAAD44-9412-6712-7422-1937435349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00512" y="3325058"/>
            <a:ext cx="3964062" cy="676914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 pitchFamily="2" charset="2"/>
              <a:buChar char="§"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0BAAED2-0989-67EF-F43D-AD9A5D38FF8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32377" y="4526666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Заголовок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0B01FD2-BA77-330F-C62B-8612D2A3998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32376" y="4840517"/>
            <a:ext cx="4132197" cy="826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2B56DBF-C6C2-34E5-7F14-7179C62EF1C8}"/>
              </a:ext>
            </a:extLst>
          </p:cNvPr>
          <p:cNvCxnSpPr>
            <a:cxnSpLocks/>
          </p:cNvCxnSpPr>
          <p:nvPr/>
        </p:nvCxnSpPr>
        <p:spPr>
          <a:xfrm>
            <a:off x="3132377" y="4402612"/>
            <a:ext cx="413219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50EEA6F9-E2C7-ACC4-F46D-2E476A4480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00512" y="5719455"/>
            <a:ext cx="3964061" cy="676914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 pitchFamily="2" charset="2"/>
              <a:buChar char="§"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56279723-4C1B-3341-326C-5C85F883318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54073" y="2132269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Заголовок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EE6AB05-4E70-AF1E-86F5-583E613002C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54072" y="2446120"/>
            <a:ext cx="4147521" cy="826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7300B6E-28AD-FF2A-D05B-18B59175924D}"/>
              </a:ext>
            </a:extLst>
          </p:cNvPr>
          <p:cNvCxnSpPr>
            <a:cxnSpLocks/>
          </p:cNvCxnSpPr>
          <p:nvPr/>
        </p:nvCxnSpPr>
        <p:spPr>
          <a:xfrm>
            <a:off x="7854073" y="2008215"/>
            <a:ext cx="414752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C3851B56-FDA0-3C44-13F7-1AB103F4EF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22208" y="3325058"/>
            <a:ext cx="3979386" cy="676914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 pitchFamily="2" charset="2"/>
              <a:buChar char="§"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10F6C59F-D1E7-FFC9-B162-1E5832D34F5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54073" y="4526666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Заголовок</a:t>
            </a:r>
            <a:endParaRPr lang="en-RU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B170F026-F176-5489-2E67-3C5DC6CA311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54072" y="4840517"/>
            <a:ext cx="4147521" cy="8265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аналитики.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18E8ACF-C60D-B874-780D-4E2EEF9D8324}"/>
              </a:ext>
            </a:extLst>
          </p:cNvPr>
          <p:cNvCxnSpPr>
            <a:cxnSpLocks/>
          </p:cNvCxnSpPr>
          <p:nvPr/>
        </p:nvCxnSpPr>
        <p:spPr>
          <a:xfrm>
            <a:off x="7854073" y="4402612"/>
            <a:ext cx="414752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0DEA82A4-338E-1316-B35E-4445C50D008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22208" y="5719455"/>
            <a:ext cx="3979386" cy="676914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 pitchFamily="2" charset="2"/>
              <a:buChar char="§"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DE597823-A8CF-2A4B-D90F-7D8E16D423F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407" y="280699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46B817E-1B62-0B76-58AB-379FF65FE7D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56933A67-12DB-F7FF-8CD7-53486F67C88C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37E54BEA-A51C-7073-C7B2-E5A472320D8B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4ECBCEBE-04C1-8622-79F6-F71F5755C76C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72063DF4-D145-3B87-2137-9997345678DD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54301300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88B1068-49AB-7E60-59DD-CD56DF3F8B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15216" y="2132269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Заголовок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2C541CF-B692-C25D-29EB-67A5961303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12542" y="2446120"/>
            <a:ext cx="5300658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</a:t>
            </a:r>
            <a:br>
              <a:rPr lang="en-US" dirty="0"/>
            </a:br>
            <a:r>
              <a:rPr lang="ru-RU" dirty="0"/>
              <a:t>заходы на различные страницы сайта ХХХ. За месяц на сайт заходят с мобильных устройств ХХХ млн людей — совершенно репрезентативная выборка для построения </a:t>
            </a:r>
            <a:br>
              <a:rPr lang="en-US" dirty="0"/>
            </a:br>
            <a:r>
              <a:rPr lang="ru-RU" dirty="0"/>
              <a:t>аналитики.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834154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F931DA1-182F-6CA9-850E-153A23079554}"/>
              </a:ext>
            </a:extLst>
          </p:cNvPr>
          <p:cNvCxnSpPr>
            <a:cxnSpLocks/>
          </p:cNvCxnSpPr>
          <p:nvPr/>
        </p:nvCxnSpPr>
        <p:spPr>
          <a:xfrm>
            <a:off x="6112542" y="2008215"/>
            <a:ext cx="588905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9FAAD44-9412-6712-7422-1937435349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12542" y="3820598"/>
            <a:ext cx="3964062" cy="1447160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spcBef>
                <a:spcPts val="0"/>
              </a:spcBef>
              <a:buFont typeface="Wingdings" pitchFamily="2" charset="2"/>
              <a:buChar char="§"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  <a:endParaRPr lang="en-US" dirty="0"/>
          </a:p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  <a:p>
            <a:pPr rtl="0"/>
            <a:endParaRPr lang="ru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3418EB2-0DAE-5444-A15A-590828A79A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65821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7A5345BB-C6A9-A99C-6E26-7C8CD6BF79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1254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2EC670D-2E87-693B-952E-C9ADDD4F5B82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1B4BD31-B67D-2B1C-CD60-FE628F49D6F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698D2A7-19DE-2E22-56FF-A6DF523D5B9E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ADF3F854-A564-9CA7-91E6-CCBE4BBA0435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0E6B7915-CE2A-8A2A-7201-AAB961F9B8F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646904930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2C541CF-B692-C25D-29EB-67A5961303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7" y="2075030"/>
            <a:ext cx="4132198" cy="14471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.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834154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9FAAD44-9412-6712-7422-1937435349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6" y="4060861"/>
            <a:ext cx="7078648" cy="2013059"/>
          </a:xfrm>
          <a:prstGeom prst="rect">
            <a:avLst/>
          </a:prstGeom>
        </p:spPr>
        <p:txBody>
          <a:bodyPr lIns="0" tIns="0" rIns="0" bIns="0"/>
          <a:lstStyle>
            <a:lvl1pPr marL="161300" indent="-161300">
              <a:lnSpc>
                <a:spcPct val="90000"/>
              </a:lnSpc>
              <a:spcBef>
                <a:spcPts val="0"/>
              </a:spcBef>
              <a:buSzPct val="70000"/>
              <a:buFont typeface="Wingdings" pitchFamily="2" charset="2"/>
              <a:buChar char="§"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  <a:endParaRPr lang="en-US" dirty="0"/>
          </a:p>
          <a:p>
            <a:pPr rt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  <a:p>
            <a:pPr rtl="0"/>
            <a:endParaRPr lang="ru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B17CBE2-D39F-AA31-06C7-A23A54537C2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863422" y="2075030"/>
            <a:ext cx="4132198" cy="14471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.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BBD793A-3663-0F2A-26FB-27469725DD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407" y="207503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063C171-DFB8-F5E9-1E78-F0CE0C5F31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407" y="2435906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E8B8639-D79C-E235-AA6F-490FE150C83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A204601-A81C-91A6-513D-79A7982255D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3EE9E924-A83D-4B8B-2076-F94B25A08744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6F5726-F073-567B-E994-BDACAE05A05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4074A937-1099-CE26-C3DF-3C5D6FCF635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906081003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834154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9FAAD44-9412-6712-7422-1937435349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6" y="4541678"/>
            <a:ext cx="7078648" cy="2013059"/>
          </a:xfrm>
          <a:prstGeom prst="rect">
            <a:avLst/>
          </a:prstGeom>
        </p:spPr>
        <p:txBody>
          <a:bodyPr lIns="0" tIns="0" rIns="0" bIns="0"/>
          <a:lstStyle>
            <a:lvl1pPr marL="274061" marR="0" indent="-274061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Поставим счётчик на сайт ХХХ</a:t>
            </a:r>
          </a:p>
          <a:p>
            <a:pPr rtl="0"/>
            <a:r>
              <a:rPr lang="ru-RU" dirty="0"/>
              <a:t>ХХХ млн людей / месяц </a:t>
            </a:r>
          </a:p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  <a:p>
            <a:pPr rtl="0"/>
            <a:r>
              <a:rPr lang="ru-RU" dirty="0"/>
              <a:t>Поставим счётчик на сайт ХХХ</a:t>
            </a:r>
          </a:p>
          <a:p>
            <a:pPr rtl="0"/>
            <a:r>
              <a:rPr lang="ru-RU" dirty="0"/>
              <a:t>ХХХ млн людей / месяц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BBD793A-3663-0F2A-26FB-27469725DD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407" y="207503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063C171-DFB8-F5E9-1E78-F0CE0C5F31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407" y="2435906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CE0C4139-E927-C995-E362-206B72BC7EB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32376" y="2109105"/>
            <a:ext cx="7078648" cy="530227"/>
          </a:xfrm>
          <a:prstGeom prst="rect">
            <a:avLst/>
          </a:prstGeom>
        </p:spPr>
        <p:txBody>
          <a:bodyPr lIns="0" tIns="0" rIns="0" bIns="0"/>
          <a:lstStyle>
            <a:lvl1pPr marL="274061" marR="0" indent="-274061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en-GB" dirty="0"/>
              <a:t>C</a:t>
            </a:r>
            <a:r>
              <a:rPr lang="ru-RU" dirty="0" err="1"/>
              <a:t>овершенно</a:t>
            </a:r>
            <a:r>
              <a:rPr lang="ru-RU" dirty="0"/>
              <a:t> репрезентативная выборка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32D1316D-B8D5-1960-FE91-1BC8855F93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25251" y="2714892"/>
            <a:ext cx="4132198" cy="14471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.</a:t>
            </a:r>
            <a:br>
              <a:rPr lang="en-US" dirty="0"/>
            </a:br>
            <a:r>
              <a:rPr lang="ru-RU" dirty="0"/>
              <a:t>Встроили счётчик на сайт ХХХ, он позволяет отслеживать заходы на различные страницы сайта ХХХ. За месяц на сайт заходят с мобильных.</a:t>
            </a:r>
          </a:p>
          <a:p>
            <a:pPr rtl="0"/>
            <a:endParaRPr lang="ru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5D20340-29F7-FCA7-ED51-DCDE766A0C5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AC080C6-38B6-5879-782D-F07A9BC808E2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13A18D80-CDAC-0F42-CDAA-7BCC4DFC38BA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60E24B9A-3462-E837-FB32-D9A294B4F037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36E55049-A6D9-76A5-C122-EF64A4954A59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55900510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470327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BBD793A-3663-0F2A-26FB-27469725DD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407" y="5224111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063C171-DFB8-F5E9-1E78-F0CE0C5F31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407" y="558498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1BB5986-9224-1E4D-823B-AA93332DD252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9010" y="162683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44585294-8B9F-1FFD-E9B8-90175B805B3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226068" y="162683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673F794F-7974-A182-6496-BFFABAB4E634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226068" y="4277764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1CEB6ED1-7C65-72F9-8352-7FACBD5B8117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8363580" y="1626830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388777C6-5FD3-FD44-7942-01879D4A199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8363580" y="4277764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DF7F9AA8-0D7E-C2B6-3B75-A4ECE8BD5C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0407" y="2516114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9D971856-E64C-B555-4520-156CB2AAA73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0407" y="2829964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E48FCEE6-B7F0-D08B-C0CA-13C7893CB5B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24586" y="2516114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7234C189-6B34-6F1E-C081-F781B4BAABF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324586" y="2829964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387554EB-1B41-B8C3-8D5C-6F56866E47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58765" y="2516114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2A4ECECC-689E-6F70-A9F7-FC7F0D0EAEB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458765" y="2829964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D6368A73-B635-1360-74EE-EB731332892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324586" y="5175826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3D470211-5304-1904-0785-16FCC33B734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324586" y="5489676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4B5DEFC0-23BE-131F-1A76-B7D9C9F9C39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458765" y="5175826"/>
            <a:ext cx="233436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9B7D57DA-2968-D641-CBA5-F142020DCA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458765" y="5489676"/>
            <a:ext cx="2941970" cy="11324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8164E48-7C33-8EC7-4439-2697047FA678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0D17940-14B3-11D2-DF23-C7B38F1F6562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FCE8B754-1374-72EE-E88A-E0DB805C5A30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7824A444-B7AA-4304-CD8D-BCFA87501E9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D4942824-BAB1-8BF4-813D-DBA81C0764DC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710208834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с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470327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BBD793A-3663-0F2A-26FB-27469725DD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24586" y="622034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063C171-DFB8-F5E9-1E78-F0CE0C5F31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24586" y="648621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DF7F9AA8-0D7E-C2B6-3B75-A4ECE8BD5C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0407" y="1858132"/>
            <a:ext cx="2939412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9D971856-E64C-B555-4520-156CB2AAA73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0407" y="2191048"/>
            <a:ext cx="2941970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E48FCEE6-B7F0-D08B-C0CA-13C7893CB5B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24586" y="1858132"/>
            <a:ext cx="2939412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387554EB-1B41-B8C3-8D5C-6F56866E47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58765" y="1858132"/>
            <a:ext cx="2954435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B0FC424-5508-1639-8F8B-C107584B173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324586" y="2191048"/>
            <a:ext cx="2941970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C8F7E4E-26CB-305E-75FC-D5C0CD83F93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458765" y="2191048"/>
            <a:ext cx="2954435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88F2B318-7400-08F6-81B4-AB4D2772224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90407" y="3764991"/>
            <a:ext cx="294197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84D8E917-4CA1-E3BA-BFB6-87F7991C442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90407" y="4097906"/>
            <a:ext cx="2941970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E77A29A-7B9C-A03B-6C4D-305AD1E653E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324586" y="3764991"/>
            <a:ext cx="2939412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D048CEA6-4770-65A8-D077-4561AC0C7BF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324586" y="4097906"/>
            <a:ext cx="2941970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AF66CA-7AF6-D361-BD63-20254E5B8FF3}"/>
              </a:ext>
            </a:extLst>
          </p:cNvPr>
          <p:cNvCxnSpPr>
            <a:cxnSpLocks/>
          </p:cNvCxnSpPr>
          <p:nvPr/>
        </p:nvCxnSpPr>
        <p:spPr>
          <a:xfrm>
            <a:off x="192965" y="1518827"/>
            <a:ext cx="293941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BCD7E5D-4EE0-1CD0-8D50-F49B82A6C567}"/>
              </a:ext>
            </a:extLst>
          </p:cNvPr>
          <p:cNvCxnSpPr>
            <a:cxnSpLocks/>
          </p:cNvCxnSpPr>
          <p:nvPr/>
        </p:nvCxnSpPr>
        <p:spPr>
          <a:xfrm>
            <a:off x="192965" y="3425686"/>
            <a:ext cx="293941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E0EE1AE-8B03-1374-4FA5-FF7C4E8537FC}"/>
              </a:ext>
            </a:extLst>
          </p:cNvPr>
          <p:cNvCxnSpPr>
            <a:cxnSpLocks/>
          </p:cNvCxnSpPr>
          <p:nvPr/>
        </p:nvCxnSpPr>
        <p:spPr>
          <a:xfrm>
            <a:off x="4307540" y="1518827"/>
            <a:ext cx="295901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1CD780F-C9CF-19FC-C7CE-4E7388617345}"/>
              </a:ext>
            </a:extLst>
          </p:cNvPr>
          <p:cNvCxnSpPr>
            <a:cxnSpLocks/>
          </p:cNvCxnSpPr>
          <p:nvPr/>
        </p:nvCxnSpPr>
        <p:spPr>
          <a:xfrm>
            <a:off x="4307540" y="3425686"/>
            <a:ext cx="295901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1D48FEF-D3C9-19D4-5D68-AB1A5BC3126E}"/>
              </a:ext>
            </a:extLst>
          </p:cNvPr>
          <p:cNvCxnSpPr>
            <a:cxnSpLocks/>
          </p:cNvCxnSpPr>
          <p:nvPr/>
        </p:nvCxnSpPr>
        <p:spPr>
          <a:xfrm>
            <a:off x="8450790" y="1518827"/>
            <a:ext cx="2971051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D4FA3F01-6C6E-CF7E-A926-0332DDDEA808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7865891" y="3429000"/>
            <a:ext cx="4350751" cy="3429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D8DECAE-9CAC-F4CF-BA87-D3B63C6B28B9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4F2240A-1EBD-88C2-BABB-E4644292C8BA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BCB7C3EB-BDFA-4590-C9A4-4CECB873A407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96C7D2FB-2379-C71B-5AAA-EE21360A89A0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B8B101D0-6911-CA2B-E1C7-154A946A2258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53574254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630665" cy="470327"/>
          </a:xfrm>
        </p:spPr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BBD793A-3663-0F2A-26FB-27469725DD0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54030" y="622034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B063C171-DFB8-F5E9-1E78-F0CE0C5F310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54030" y="648621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DF7F9AA8-0D7E-C2B6-3B75-A4ECE8BD5C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54030" y="1858132"/>
            <a:ext cx="3534844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9D971856-E64C-B555-4520-156CB2AAA73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54030" y="2191048"/>
            <a:ext cx="353484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E48FCEE6-B7F0-D08B-C0CA-13C7893CB5B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881660" y="1858132"/>
            <a:ext cx="353154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CB0FC424-5508-1639-8F8B-C107584B173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881659" y="2191048"/>
            <a:ext cx="353484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88F2B318-7400-08F6-81B4-AB4D2772224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154030" y="3764991"/>
            <a:ext cx="3534844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84D8E917-4CA1-E3BA-BFB6-87F7991C442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154030" y="4097906"/>
            <a:ext cx="353484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E77A29A-7B9C-A03B-6C4D-305AD1E653E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881660" y="3764991"/>
            <a:ext cx="3531540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D048CEA6-4770-65A8-D077-4561AC0C7BF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881659" y="4097906"/>
            <a:ext cx="353484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7AF66CA-7AF6-D361-BD63-20254E5B8FF3}"/>
              </a:ext>
            </a:extLst>
          </p:cNvPr>
          <p:cNvCxnSpPr>
            <a:cxnSpLocks/>
          </p:cNvCxnSpPr>
          <p:nvPr/>
        </p:nvCxnSpPr>
        <p:spPr>
          <a:xfrm>
            <a:off x="3132376" y="1518827"/>
            <a:ext cx="3556498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BCD7E5D-4EE0-1CD0-8D50-F49B82A6C567}"/>
              </a:ext>
            </a:extLst>
          </p:cNvPr>
          <p:cNvCxnSpPr>
            <a:cxnSpLocks/>
          </p:cNvCxnSpPr>
          <p:nvPr/>
        </p:nvCxnSpPr>
        <p:spPr>
          <a:xfrm>
            <a:off x="3132376" y="3425686"/>
            <a:ext cx="3556497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E0EE1AE-8B03-1374-4FA5-FF7C4E8537FC}"/>
              </a:ext>
            </a:extLst>
          </p:cNvPr>
          <p:cNvCxnSpPr>
            <a:cxnSpLocks/>
          </p:cNvCxnSpPr>
          <p:nvPr/>
        </p:nvCxnSpPr>
        <p:spPr>
          <a:xfrm>
            <a:off x="7864614" y="1518827"/>
            <a:ext cx="3548586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1CD780F-C9CF-19FC-C7CE-4E7388617345}"/>
              </a:ext>
            </a:extLst>
          </p:cNvPr>
          <p:cNvCxnSpPr>
            <a:cxnSpLocks/>
          </p:cNvCxnSpPr>
          <p:nvPr/>
        </p:nvCxnSpPr>
        <p:spPr>
          <a:xfrm>
            <a:off x="7864614" y="3425686"/>
            <a:ext cx="3557227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3F7568B-C5D8-F395-EF3D-8572CE9E3359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881659" y="6220347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3E81D750-A060-A95E-B6A0-FB5CB476397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881659" y="6486210"/>
            <a:ext cx="2349096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1590C96-7826-0DBC-FF74-B39C479BEDD8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709D09C-BD3B-CDA7-DC8E-D6E892AF619F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0EB0C9B1-776C-E9F1-D5F0-EFE675373E34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BE24EE5B-2766-309D-39A5-3DA7E5D7892C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C29BB802-EA29-4E55-57D8-5FEAB25ED6D7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61618454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6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F35FA65-5C8C-3B22-9D2D-E9869580DB5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5920700"/>
              <a:gd name="connsiteY0" fmla="*/ 0 h 14579600"/>
              <a:gd name="connsiteX1" fmla="*/ 24282700 w 25920700"/>
              <a:gd name="connsiteY1" fmla="*/ 0 h 14579600"/>
              <a:gd name="connsiteX2" fmla="*/ 24282700 w 25920700"/>
              <a:gd name="connsiteY2" fmla="*/ 816407 h 14579600"/>
              <a:gd name="connsiteX3" fmla="*/ 25103500 w 25920700"/>
              <a:gd name="connsiteY3" fmla="*/ 816407 h 14579600"/>
              <a:gd name="connsiteX4" fmla="*/ 25103500 w 25920700"/>
              <a:gd name="connsiteY4" fmla="*/ 1637206 h 14579600"/>
              <a:gd name="connsiteX5" fmla="*/ 25920700 w 25920700"/>
              <a:gd name="connsiteY5" fmla="*/ 1637206 h 14579600"/>
              <a:gd name="connsiteX6" fmla="*/ 25920700 w 25920700"/>
              <a:gd name="connsiteY6" fmla="*/ 14579600 h 14579600"/>
              <a:gd name="connsiteX7" fmla="*/ 825500 w 25920700"/>
              <a:gd name="connsiteY7" fmla="*/ 14579600 h 14579600"/>
              <a:gd name="connsiteX8" fmla="*/ 825500 w 25920700"/>
              <a:gd name="connsiteY8" fmla="*/ 13755200 h 14579600"/>
              <a:gd name="connsiteX9" fmla="*/ 0 w 25920700"/>
              <a:gd name="connsiteY9" fmla="*/ 13755200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920700" h="14579600">
                <a:moveTo>
                  <a:pt x="0" y="0"/>
                </a:moveTo>
                <a:lnTo>
                  <a:pt x="24282700" y="0"/>
                </a:lnTo>
                <a:lnTo>
                  <a:pt x="24282700" y="816407"/>
                </a:lnTo>
                <a:lnTo>
                  <a:pt x="25103500" y="816407"/>
                </a:lnTo>
                <a:lnTo>
                  <a:pt x="25103500" y="1637206"/>
                </a:lnTo>
                <a:lnTo>
                  <a:pt x="25920700" y="1637206"/>
                </a:lnTo>
                <a:lnTo>
                  <a:pt x="25920700" y="14579600"/>
                </a:lnTo>
                <a:lnTo>
                  <a:pt x="825500" y="14579600"/>
                </a:lnTo>
                <a:lnTo>
                  <a:pt x="825500" y="13755200"/>
                </a:lnTo>
                <a:lnTo>
                  <a:pt x="0" y="137552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grpSp>
        <p:nvGrpSpPr>
          <p:cNvPr id="3" name="Graphic 12">
            <a:extLst>
              <a:ext uri="{FF2B5EF4-FFF2-40B4-BE49-F238E27FC236}">
                <a16:creationId xmlns:a16="http://schemas.microsoft.com/office/drawing/2014/main" id="{B35F4F9B-A2BD-A1D4-A761-3A2CEEC90758}"/>
              </a:ext>
            </a:extLst>
          </p:cNvPr>
          <p:cNvGrpSpPr/>
          <p:nvPr/>
        </p:nvGrpSpPr>
        <p:grpSpPr>
          <a:xfrm>
            <a:off x="11421554" y="-374"/>
            <a:ext cx="770446" cy="770488"/>
            <a:chOff x="12388850" y="6718300"/>
            <a:chExt cx="1143000" cy="1143000"/>
          </a:xfrm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1C74323F-24BA-6262-886A-D7B0029AA5F1}"/>
                </a:ext>
              </a:extLst>
            </p:cNvPr>
            <p:cNvSpPr/>
            <p:nvPr/>
          </p:nvSpPr>
          <p:spPr>
            <a:xfrm>
              <a:off x="12388850" y="6718300"/>
              <a:ext cx="1143000" cy="1143000"/>
            </a:xfrm>
            <a:custGeom>
              <a:avLst/>
              <a:gdLst>
                <a:gd name="connsiteX0" fmla="*/ 0 w 1143000"/>
                <a:gd name="connsiteY0" fmla="*/ 0 h 1143000"/>
                <a:gd name="connsiteX1" fmla="*/ 1143000 w 1143000"/>
                <a:gd name="connsiteY1" fmla="*/ 0 h 1143000"/>
                <a:gd name="connsiteX2" fmla="*/ 1143000 w 1143000"/>
                <a:gd name="connsiteY2" fmla="*/ 1143000 h 1143000"/>
                <a:gd name="connsiteX3" fmla="*/ 571500 w 1143000"/>
                <a:gd name="connsiteY3" fmla="*/ 1143000 h 1143000"/>
                <a:gd name="connsiteX4" fmla="*/ 571500 w 1143000"/>
                <a:gd name="connsiteY4" fmla="*/ 571500 h 1143000"/>
                <a:gd name="connsiteX5" fmla="*/ 0 w 1143000"/>
                <a:gd name="connsiteY5" fmla="*/ 57150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000" h="1143000">
                  <a:moveTo>
                    <a:pt x="0" y="0"/>
                  </a:moveTo>
                  <a:lnTo>
                    <a:pt x="1143000" y="0"/>
                  </a:lnTo>
                  <a:lnTo>
                    <a:pt x="1143000" y="1143000"/>
                  </a:lnTo>
                  <a:lnTo>
                    <a:pt x="571500" y="1143000"/>
                  </a:lnTo>
                  <a:lnTo>
                    <a:pt x="57150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679BCE1-0096-581D-478E-00DEE942343C}"/>
                </a:ext>
              </a:extLst>
            </p:cNvPr>
            <p:cNvSpPr/>
            <p:nvPr/>
          </p:nvSpPr>
          <p:spPr>
            <a:xfrm>
              <a:off x="13150468" y="6805453"/>
              <a:ext cx="294036" cy="265366"/>
            </a:xfrm>
            <a:custGeom>
              <a:avLst/>
              <a:gdLst>
                <a:gd name="connsiteX0" fmla="*/ 0 w 294036"/>
                <a:gd name="connsiteY0" fmla="*/ 0 h 265366"/>
                <a:gd name="connsiteX1" fmla="*/ 0 w 294036"/>
                <a:gd name="connsiteY1" fmla="*/ 53340 h 265366"/>
                <a:gd name="connsiteX2" fmla="*/ 114871 w 294036"/>
                <a:gd name="connsiteY2" fmla="*/ 53340 h 265366"/>
                <a:gd name="connsiteX3" fmla="*/ 114871 w 294036"/>
                <a:gd name="connsiteY3" fmla="*/ 261938 h 265366"/>
                <a:gd name="connsiteX4" fmla="*/ 114871 w 294036"/>
                <a:gd name="connsiteY4" fmla="*/ 265367 h 265366"/>
                <a:gd name="connsiteX5" fmla="*/ 179165 w 294036"/>
                <a:gd name="connsiteY5" fmla="*/ 265367 h 265366"/>
                <a:gd name="connsiteX6" fmla="*/ 179165 w 294036"/>
                <a:gd name="connsiteY6" fmla="*/ 53340 h 265366"/>
                <a:gd name="connsiteX7" fmla="*/ 294037 w 294036"/>
                <a:gd name="connsiteY7" fmla="*/ 53340 h 265366"/>
                <a:gd name="connsiteX8" fmla="*/ 294037 w 294036"/>
                <a:gd name="connsiteY8" fmla="*/ 0 h 26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036" h="265366">
                  <a:moveTo>
                    <a:pt x="0" y="0"/>
                  </a:moveTo>
                  <a:lnTo>
                    <a:pt x="0" y="53340"/>
                  </a:lnTo>
                  <a:lnTo>
                    <a:pt x="114871" y="53340"/>
                  </a:lnTo>
                  <a:lnTo>
                    <a:pt x="114871" y="261938"/>
                  </a:lnTo>
                  <a:lnTo>
                    <a:pt x="114871" y="265367"/>
                  </a:lnTo>
                  <a:lnTo>
                    <a:pt x="179165" y="265367"/>
                  </a:lnTo>
                  <a:lnTo>
                    <a:pt x="179165" y="53340"/>
                  </a:lnTo>
                  <a:lnTo>
                    <a:pt x="294037" y="53340"/>
                  </a:lnTo>
                  <a:lnTo>
                    <a:pt x="294037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706284EE-1FFD-DBAB-02CB-33266B2C53F6}"/>
                </a:ext>
              </a:extLst>
            </p:cNvPr>
            <p:cNvSpPr/>
            <p:nvPr/>
          </p:nvSpPr>
          <p:spPr>
            <a:xfrm>
              <a:off x="12476956" y="6806215"/>
              <a:ext cx="351567" cy="263747"/>
            </a:xfrm>
            <a:custGeom>
              <a:avLst/>
              <a:gdLst>
                <a:gd name="connsiteX0" fmla="*/ 259747 w 351567"/>
                <a:gd name="connsiteY0" fmla="*/ 0 h 263747"/>
                <a:gd name="connsiteX1" fmla="*/ 175736 w 351567"/>
                <a:gd name="connsiteY1" fmla="*/ 174498 h 263747"/>
                <a:gd name="connsiteX2" fmla="*/ 91726 w 351567"/>
                <a:gd name="connsiteY2" fmla="*/ 0 h 263747"/>
                <a:gd name="connsiteX3" fmla="*/ 0 w 351567"/>
                <a:gd name="connsiteY3" fmla="*/ 0 h 263747"/>
                <a:gd name="connsiteX4" fmla="*/ 0 w 351567"/>
                <a:gd name="connsiteY4" fmla="*/ 263747 h 263747"/>
                <a:gd name="connsiteX5" fmla="*/ 64294 w 351567"/>
                <a:gd name="connsiteY5" fmla="*/ 263747 h 263747"/>
                <a:gd name="connsiteX6" fmla="*/ 64294 w 351567"/>
                <a:gd name="connsiteY6" fmla="*/ 74962 h 263747"/>
                <a:gd name="connsiteX7" fmla="*/ 146399 w 351567"/>
                <a:gd name="connsiteY7" fmla="*/ 234505 h 263747"/>
                <a:gd name="connsiteX8" fmla="*/ 205073 w 351567"/>
                <a:gd name="connsiteY8" fmla="*/ 234505 h 263747"/>
                <a:gd name="connsiteX9" fmla="*/ 287179 w 351567"/>
                <a:gd name="connsiteY9" fmla="*/ 74962 h 263747"/>
                <a:gd name="connsiteX10" fmla="*/ 287179 w 351567"/>
                <a:gd name="connsiteY10" fmla="*/ 263747 h 263747"/>
                <a:gd name="connsiteX11" fmla="*/ 351568 w 351567"/>
                <a:gd name="connsiteY11" fmla="*/ 263747 h 263747"/>
                <a:gd name="connsiteX12" fmla="*/ 351568 w 351567"/>
                <a:gd name="connsiteY12" fmla="*/ 0 h 26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1567" h="263747">
                  <a:moveTo>
                    <a:pt x="259747" y="0"/>
                  </a:moveTo>
                  <a:lnTo>
                    <a:pt x="175736" y="174498"/>
                  </a:lnTo>
                  <a:lnTo>
                    <a:pt x="91726" y="0"/>
                  </a:lnTo>
                  <a:lnTo>
                    <a:pt x="0" y="0"/>
                  </a:lnTo>
                  <a:lnTo>
                    <a:pt x="0" y="263747"/>
                  </a:lnTo>
                  <a:lnTo>
                    <a:pt x="64294" y="263747"/>
                  </a:lnTo>
                  <a:lnTo>
                    <a:pt x="64294" y="74962"/>
                  </a:lnTo>
                  <a:lnTo>
                    <a:pt x="146399" y="234505"/>
                  </a:lnTo>
                  <a:lnTo>
                    <a:pt x="205073" y="234505"/>
                  </a:lnTo>
                  <a:lnTo>
                    <a:pt x="287179" y="74962"/>
                  </a:lnTo>
                  <a:lnTo>
                    <a:pt x="287179" y="263747"/>
                  </a:lnTo>
                  <a:lnTo>
                    <a:pt x="351568" y="263747"/>
                  </a:lnTo>
                  <a:lnTo>
                    <a:pt x="351568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F68E9D74-F24B-1514-F820-8D3FDA6A8B69}"/>
                </a:ext>
              </a:extLst>
            </p:cNvPr>
            <p:cNvSpPr/>
            <p:nvPr/>
          </p:nvSpPr>
          <p:spPr>
            <a:xfrm>
              <a:off x="13150468" y="7503872"/>
              <a:ext cx="293751" cy="275085"/>
            </a:xfrm>
            <a:custGeom>
              <a:avLst/>
              <a:gdLst>
                <a:gd name="connsiteX0" fmla="*/ 229457 w 293751"/>
                <a:gd name="connsiteY0" fmla="*/ 181596 h 275085"/>
                <a:gd name="connsiteX1" fmla="*/ 216884 w 293751"/>
                <a:gd name="connsiteY1" fmla="*/ 207314 h 275085"/>
                <a:gd name="connsiteX2" fmla="*/ 191167 w 293751"/>
                <a:gd name="connsiteY2" fmla="*/ 220268 h 275085"/>
                <a:gd name="connsiteX3" fmla="*/ 148590 w 293751"/>
                <a:gd name="connsiteY3" fmla="*/ 224173 h 275085"/>
                <a:gd name="connsiteX4" fmla="*/ 103727 w 293751"/>
                <a:gd name="connsiteY4" fmla="*/ 217601 h 275085"/>
                <a:gd name="connsiteX5" fmla="*/ 74581 w 293751"/>
                <a:gd name="connsiteY5" fmla="*/ 195693 h 275085"/>
                <a:gd name="connsiteX6" fmla="*/ 64103 w 293751"/>
                <a:gd name="connsiteY6" fmla="*/ 151307 h 275085"/>
                <a:gd name="connsiteX7" fmla="*/ 64103 w 293751"/>
                <a:gd name="connsiteY7" fmla="*/ 124256 h 275085"/>
                <a:gd name="connsiteX8" fmla="*/ 74581 w 293751"/>
                <a:gd name="connsiteY8" fmla="*/ 79679 h 275085"/>
                <a:gd name="connsiteX9" fmla="*/ 103632 w 293751"/>
                <a:gd name="connsiteY9" fmla="*/ 57771 h 275085"/>
                <a:gd name="connsiteX10" fmla="*/ 148495 w 293751"/>
                <a:gd name="connsiteY10" fmla="*/ 51199 h 275085"/>
                <a:gd name="connsiteX11" fmla="*/ 191071 w 293751"/>
                <a:gd name="connsiteY11" fmla="*/ 55009 h 275085"/>
                <a:gd name="connsiteX12" fmla="*/ 216789 w 293751"/>
                <a:gd name="connsiteY12" fmla="*/ 67963 h 275085"/>
                <a:gd name="connsiteX13" fmla="*/ 229362 w 293751"/>
                <a:gd name="connsiteY13" fmla="*/ 93680 h 275085"/>
                <a:gd name="connsiteX14" fmla="*/ 293751 w 293751"/>
                <a:gd name="connsiteY14" fmla="*/ 93680 h 275085"/>
                <a:gd name="connsiteX15" fmla="*/ 271748 w 293751"/>
                <a:gd name="connsiteY15" fmla="*/ 38531 h 275085"/>
                <a:gd name="connsiteX16" fmla="*/ 223361 w 293751"/>
                <a:gd name="connsiteY16" fmla="*/ 9003 h 275085"/>
                <a:gd name="connsiteX17" fmla="*/ 148590 w 293751"/>
                <a:gd name="connsiteY17" fmla="*/ 50 h 275085"/>
                <a:gd name="connsiteX18" fmla="*/ 69152 w 293751"/>
                <a:gd name="connsiteY18" fmla="*/ 13194 h 275085"/>
                <a:gd name="connsiteX19" fmla="*/ 17717 w 293751"/>
                <a:gd name="connsiteY19" fmla="*/ 57200 h 275085"/>
                <a:gd name="connsiteX20" fmla="*/ 0 w 293751"/>
                <a:gd name="connsiteY20" fmla="*/ 134543 h 275085"/>
                <a:gd name="connsiteX21" fmla="*/ 0 w 293751"/>
                <a:gd name="connsiteY21" fmla="*/ 137495 h 275085"/>
                <a:gd name="connsiteX22" fmla="*/ 3429 w 293751"/>
                <a:gd name="connsiteY22" fmla="*/ 137591 h 275085"/>
                <a:gd name="connsiteX23" fmla="*/ 0 w 293751"/>
                <a:gd name="connsiteY23" fmla="*/ 137591 h 275085"/>
                <a:gd name="connsiteX24" fmla="*/ 0 w 293751"/>
                <a:gd name="connsiteY24" fmla="*/ 140543 h 275085"/>
                <a:gd name="connsiteX25" fmla="*/ 17717 w 293751"/>
                <a:gd name="connsiteY25" fmla="*/ 217886 h 275085"/>
                <a:gd name="connsiteX26" fmla="*/ 69152 w 293751"/>
                <a:gd name="connsiteY26" fmla="*/ 261892 h 275085"/>
                <a:gd name="connsiteX27" fmla="*/ 148590 w 293751"/>
                <a:gd name="connsiteY27" fmla="*/ 275036 h 275085"/>
                <a:gd name="connsiteX28" fmla="*/ 223361 w 293751"/>
                <a:gd name="connsiteY28" fmla="*/ 266083 h 275085"/>
                <a:gd name="connsiteX29" fmla="*/ 271748 w 293751"/>
                <a:gd name="connsiteY29" fmla="*/ 236555 h 275085"/>
                <a:gd name="connsiteX30" fmla="*/ 293751 w 293751"/>
                <a:gd name="connsiteY30" fmla="*/ 181406 h 275085"/>
                <a:gd name="connsiteX31" fmla="*/ 229457 w 293751"/>
                <a:gd name="connsiteY31" fmla="*/ 181596 h 27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93751" h="275085">
                  <a:moveTo>
                    <a:pt x="229457" y="181596"/>
                  </a:moveTo>
                  <a:cubicBezTo>
                    <a:pt x="228219" y="191312"/>
                    <a:pt x="223838" y="200360"/>
                    <a:pt x="216884" y="207314"/>
                  </a:cubicBezTo>
                  <a:cubicBezTo>
                    <a:pt x="209645" y="213886"/>
                    <a:pt x="200787" y="218363"/>
                    <a:pt x="191167" y="220268"/>
                  </a:cubicBezTo>
                  <a:cubicBezTo>
                    <a:pt x="177165" y="223030"/>
                    <a:pt x="162877" y="224363"/>
                    <a:pt x="148590" y="224173"/>
                  </a:cubicBezTo>
                  <a:cubicBezTo>
                    <a:pt x="133350" y="224459"/>
                    <a:pt x="118205" y="222268"/>
                    <a:pt x="103727" y="217601"/>
                  </a:cubicBezTo>
                  <a:cubicBezTo>
                    <a:pt x="91821" y="213695"/>
                    <a:pt x="81629" y="205980"/>
                    <a:pt x="74581" y="195693"/>
                  </a:cubicBezTo>
                  <a:cubicBezTo>
                    <a:pt x="67532" y="185311"/>
                    <a:pt x="64103" y="170357"/>
                    <a:pt x="64103" y="151307"/>
                  </a:cubicBezTo>
                  <a:lnTo>
                    <a:pt x="64103" y="124256"/>
                  </a:lnTo>
                  <a:cubicBezTo>
                    <a:pt x="64103" y="105015"/>
                    <a:pt x="67627" y="90061"/>
                    <a:pt x="74581" y="79679"/>
                  </a:cubicBezTo>
                  <a:cubicBezTo>
                    <a:pt x="81534" y="69296"/>
                    <a:pt x="91726" y="61581"/>
                    <a:pt x="103632" y="57771"/>
                  </a:cubicBezTo>
                  <a:cubicBezTo>
                    <a:pt x="118110" y="53104"/>
                    <a:pt x="133255" y="50913"/>
                    <a:pt x="148495" y="51199"/>
                  </a:cubicBezTo>
                  <a:cubicBezTo>
                    <a:pt x="162782" y="51008"/>
                    <a:pt x="177070" y="52247"/>
                    <a:pt x="191071" y="55009"/>
                  </a:cubicBezTo>
                  <a:cubicBezTo>
                    <a:pt x="200692" y="56914"/>
                    <a:pt x="209550" y="61391"/>
                    <a:pt x="216789" y="67963"/>
                  </a:cubicBezTo>
                  <a:cubicBezTo>
                    <a:pt x="223742" y="74916"/>
                    <a:pt x="228219" y="83965"/>
                    <a:pt x="229362" y="93680"/>
                  </a:cubicBezTo>
                  <a:lnTo>
                    <a:pt x="293751" y="93680"/>
                  </a:lnTo>
                  <a:cubicBezTo>
                    <a:pt x="292608" y="73392"/>
                    <a:pt x="284893" y="54056"/>
                    <a:pt x="271748" y="38531"/>
                  </a:cubicBezTo>
                  <a:cubicBezTo>
                    <a:pt x="258794" y="24243"/>
                    <a:pt x="242030" y="14051"/>
                    <a:pt x="223361" y="9003"/>
                  </a:cubicBezTo>
                  <a:cubicBezTo>
                    <a:pt x="198977" y="2526"/>
                    <a:pt x="173736" y="-427"/>
                    <a:pt x="148590" y="50"/>
                  </a:cubicBezTo>
                  <a:cubicBezTo>
                    <a:pt x="117729" y="50"/>
                    <a:pt x="90964" y="4526"/>
                    <a:pt x="69152" y="13194"/>
                  </a:cubicBezTo>
                  <a:cubicBezTo>
                    <a:pt x="47435" y="21576"/>
                    <a:pt x="29337" y="37102"/>
                    <a:pt x="17717" y="57200"/>
                  </a:cubicBezTo>
                  <a:cubicBezTo>
                    <a:pt x="6382" y="76631"/>
                    <a:pt x="381" y="102634"/>
                    <a:pt x="0" y="134543"/>
                  </a:cubicBezTo>
                  <a:lnTo>
                    <a:pt x="0" y="137495"/>
                  </a:lnTo>
                  <a:lnTo>
                    <a:pt x="3429" y="137591"/>
                  </a:lnTo>
                  <a:lnTo>
                    <a:pt x="0" y="137591"/>
                  </a:lnTo>
                  <a:lnTo>
                    <a:pt x="0" y="140543"/>
                  </a:lnTo>
                  <a:cubicBezTo>
                    <a:pt x="381" y="172452"/>
                    <a:pt x="6382" y="198360"/>
                    <a:pt x="17717" y="217886"/>
                  </a:cubicBezTo>
                  <a:cubicBezTo>
                    <a:pt x="29337" y="237984"/>
                    <a:pt x="47435" y="253510"/>
                    <a:pt x="69152" y="261892"/>
                  </a:cubicBezTo>
                  <a:cubicBezTo>
                    <a:pt x="91059" y="270655"/>
                    <a:pt x="117824" y="275036"/>
                    <a:pt x="148590" y="275036"/>
                  </a:cubicBezTo>
                  <a:cubicBezTo>
                    <a:pt x="173831" y="275513"/>
                    <a:pt x="198977" y="272560"/>
                    <a:pt x="223361" y="266083"/>
                  </a:cubicBezTo>
                  <a:cubicBezTo>
                    <a:pt x="241935" y="261130"/>
                    <a:pt x="258794" y="250843"/>
                    <a:pt x="271748" y="236555"/>
                  </a:cubicBezTo>
                  <a:cubicBezTo>
                    <a:pt x="284893" y="221030"/>
                    <a:pt x="292608" y="201694"/>
                    <a:pt x="293751" y="181406"/>
                  </a:cubicBezTo>
                  <a:lnTo>
                    <a:pt x="229457" y="1815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5B6B3A-981F-5054-5CD2-E0D77FFC9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ТАКОЕ НАЗВАНИЕ</a:t>
            </a:r>
            <a:br>
              <a:rPr lang="ru-RU" dirty="0"/>
            </a:br>
            <a:r>
              <a:rPr lang="ru-RU" dirty="0"/>
              <a:t>ПРЕЗЕНТАЦИИ </a:t>
            </a:r>
            <a:br>
              <a:rPr lang="ru-RU" dirty="0"/>
            </a:br>
            <a:r>
              <a:rPr lang="ru-RU" dirty="0"/>
              <a:t>3-4 СТРОКИ</a:t>
            </a:r>
            <a:endParaRPr lang="en-RU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0F4C54F-5523-F244-C755-7C50724BDE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64169" y="6561684"/>
            <a:ext cx="1771155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33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 err="1"/>
              <a:t>Д</a:t>
            </a:r>
            <a:r>
              <a:rPr lang="ru-RU" dirty="0" err="1"/>
              <a:t>олжность</a:t>
            </a:r>
            <a:r>
              <a:rPr lang="ru-RU" dirty="0"/>
              <a:t> автора</a:t>
            </a:r>
            <a:endParaRPr lang="en-RU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56A433E-DF8D-4B7E-8E2C-89E543A62C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45409" y="6561684"/>
            <a:ext cx="1748415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33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 err="1"/>
              <a:t>И</a:t>
            </a:r>
            <a:r>
              <a:rPr lang="ru-RU" dirty="0" err="1"/>
              <a:t>мя</a:t>
            </a:r>
            <a:r>
              <a:rPr lang="ru-RU" dirty="0"/>
              <a:t> Фамилия</a:t>
            </a:r>
            <a:endParaRPr lang="en-RU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04A5DBD-36F5-82A0-7673-B562C4CDFB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E988F7-6ECB-F94F-8679-A0D42C8C53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15" name="Picture Placeholder 25">
            <a:extLst>
              <a:ext uri="{FF2B5EF4-FFF2-40B4-BE49-F238E27FC236}">
                <a16:creationId xmlns:a16="http://schemas.microsoft.com/office/drawing/2014/main" id="{2E0069DF-77E2-36AA-7EA0-4B78503C667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DA3766-59A7-1E9C-5CC7-509D40CF082C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Picture Placeholder 25">
            <a:extLst>
              <a:ext uri="{FF2B5EF4-FFF2-40B4-BE49-F238E27FC236}">
                <a16:creationId xmlns:a16="http://schemas.microsoft.com/office/drawing/2014/main" id="{3FB72FE0-A2A6-A10D-65CC-43B8F20AF17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44968097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88F2B318-7400-08F6-81B4-AB4D2772224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132376" y="3197371"/>
            <a:ext cx="3556498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84D8E917-4CA1-E3BA-BFB6-87F7991C442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132376" y="3530286"/>
            <a:ext cx="3556498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CE77A29A-7B9C-A03B-6C4D-305AD1E653E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449046" y="3197371"/>
            <a:ext cx="3548698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D048CEA6-4770-65A8-D077-4561AC0C7BF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449576" y="3530286"/>
            <a:ext cx="3552018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11" name="Title 25">
            <a:extLst>
              <a:ext uri="{FF2B5EF4-FFF2-40B4-BE49-F238E27FC236}">
                <a16:creationId xmlns:a16="http://schemas.microsoft.com/office/drawing/2014/main" id="{0038BE16-32C8-C73F-609B-3463B18545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7667890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Немного важного текста, суммирующего общий смысл абзацев, либо факт, который впоследствии подробнее раскрыт в тексте.</a:t>
            </a:r>
            <a:endParaRPr lang="en-RU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4DDCA4F-1F6F-2DFC-1115-E04BEF2E6762}"/>
              </a:ext>
            </a:extLst>
          </p:cNvPr>
          <p:cNvCxnSpPr>
            <a:cxnSpLocks/>
          </p:cNvCxnSpPr>
          <p:nvPr/>
        </p:nvCxnSpPr>
        <p:spPr>
          <a:xfrm>
            <a:off x="1946628" y="2882917"/>
            <a:ext cx="474224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1A1A959-E7F1-285A-D42E-EF2B8DE2289F}"/>
              </a:ext>
            </a:extLst>
          </p:cNvPr>
          <p:cNvCxnSpPr>
            <a:cxnSpLocks/>
          </p:cNvCxnSpPr>
          <p:nvPr/>
        </p:nvCxnSpPr>
        <p:spPr>
          <a:xfrm>
            <a:off x="7276735" y="2882917"/>
            <a:ext cx="474224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EF06BDB-6FDE-31F3-A7FF-736E298E4111}"/>
              </a:ext>
            </a:extLst>
          </p:cNvPr>
          <p:cNvCxnSpPr>
            <a:cxnSpLocks/>
          </p:cNvCxnSpPr>
          <p:nvPr/>
        </p:nvCxnSpPr>
        <p:spPr>
          <a:xfrm>
            <a:off x="1946628" y="4849173"/>
            <a:ext cx="474224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BAF30-60CD-0453-EAEB-975D9247240C}"/>
              </a:ext>
            </a:extLst>
          </p:cNvPr>
          <p:cNvCxnSpPr>
            <a:cxnSpLocks/>
          </p:cNvCxnSpPr>
          <p:nvPr/>
        </p:nvCxnSpPr>
        <p:spPr>
          <a:xfrm>
            <a:off x="7276735" y="4849173"/>
            <a:ext cx="4742245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A2A837B0-38A2-7A68-4034-A034B61B398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132376" y="5194349"/>
            <a:ext cx="3556498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500AE112-BF5C-0BE5-EC05-57C7DD327CC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132376" y="5527265"/>
            <a:ext cx="3556498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96260709-6188-24AB-645A-51DD2629831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449046" y="5194349"/>
            <a:ext cx="3548698" cy="2065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/>
              <a:t>C</a:t>
            </a:r>
            <a:r>
              <a:rPr lang="ru-RU" dirty="0" err="1"/>
              <a:t>чётчик</a:t>
            </a:r>
            <a:r>
              <a:rPr lang="ru-RU" dirty="0"/>
              <a:t> на сайт ХХХ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921C3A26-46AD-54B6-BCAE-70B08E26B54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449576" y="5527265"/>
            <a:ext cx="3552018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BD7697F4-F423-C5E9-8096-7CFC4FEE55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407" y="5224111"/>
            <a:ext cx="1180521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E08AB708-A62E-0C35-77F7-1D9EC9E3870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407" y="5584987"/>
            <a:ext cx="1180521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32" name="Picture Placeholder 10">
            <a:extLst>
              <a:ext uri="{FF2B5EF4-FFF2-40B4-BE49-F238E27FC236}">
                <a16:creationId xmlns:a16="http://schemas.microsoft.com/office/drawing/2014/main" id="{D833F92C-F321-54ED-2E08-2FE9D600F78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163525" y="3197371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33" name="Picture Placeholder 10">
            <a:extLst>
              <a:ext uri="{FF2B5EF4-FFF2-40B4-BE49-F238E27FC236}">
                <a16:creationId xmlns:a16="http://schemas.microsoft.com/office/drawing/2014/main" id="{53C7A42F-C5F2-2BB2-553A-F2C6626F514C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486249" y="3197371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39" name="Picture Placeholder 10">
            <a:extLst>
              <a:ext uri="{FF2B5EF4-FFF2-40B4-BE49-F238E27FC236}">
                <a16:creationId xmlns:a16="http://schemas.microsoft.com/office/drawing/2014/main" id="{CFC7593D-0D62-62EC-1533-7119B1B06AF2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2163525" y="5194349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43" name="Picture Placeholder 10">
            <a:extLst>
              <a:ext uri="{FF2B5EF4-FFF2-40B4-BE49-F238E27FC236}">
                <a16:creationId xmlns:a16="http://schemas.microsoft.com/office/drawing/2014/main" id="{6B41A319-6D7C-2F62-5DE8-BCD91083A17E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7486249" y="5194349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45C1CF7-72CF-14E9-7B07-C0C0031E644A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9D559EC-4D8E-E1BD-350C-36EB5E87084E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FAA9B246-702A-9028-BC28-6C3B0099FB9F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DA1A71AA-B5B8-A4F7-DAEB-6ABDB6222B97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18AE0F4F-B276-F186-0F43-DB9CC33D1322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317653324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с иконками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BD7697F4-F423-C5E9-8096-7CFC4FEE55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0407" y="3240233"/>
            <a:ext cx="1180521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E08AB708-A62E-0C35-77F7-1D9EC9E3870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0407" y="3601109"/>
            <a:ext cx="1180521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C9165F17-785F-56EC-DC93-01B4A6ABD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Цели и шаги на квартал</a:t>
            </a:r>
            <a:endParaRPr lang="en-RU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F9085B70-DCB6-9BEA-18C0-BB630CD8DF5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7" y="3186756"/>
            <a:ext cx="2963623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tabLst/>
              <a:defRPr lang="en-GB" sz="2352" b="0" i="0" cap="none" spc="71" baseline="0" smtClean="0">
                <a:latin typeface="MTS Text Medium" panose="020B0306020102020303" pitchFamily="34" charset="0"/>
                <a:ea typeface="MTS Text Medium" panose="020B0306020102020303" pitchFamily="34" charset="0"/>
                <a:cs typeface="Arial Black" charset="0"/>
              </a:defRPr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RU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err="1"/>
              <a:t>С</a:t>
            </a:r>
            <a:r>
              <a:rPr lang="ru-RU" dirty="0" err="1"/>
              <a:t>четчик</a:t>
            </a:r>
            <a:r>
              <a:rPr lang="ru-RU" dirty="0"/>
              <a:t>, вставленный на сайт X</a:t>
            </a:r>
            <a:r>
              <a:rPr lang="en-US" dirty="0"/>
              <a:t>XX</a:t>
            </a:r>
            <a:endParaRPr lang="en-RU" dirty="0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9BE030B9-CB0C-77FB-EF71-301ABCC839F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132377" y="5091566"/>
            <a:ext cx="2963623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tabLst/>
              <a:defRPr lang="en-GB" sz="2352" b="0" i="0" cap="none" spc="71" baseline="0" smtClean="0">
                <a:latin typeface="MTS Text Medium" panose="020B0306020102020303" pitchFamily="34" charset="0"/>
                <a:ea typeface="MTS Text Medium" panose="020B0306020102020303" pitchFamily="34" charset="0"/>
                <a:cs typeface="Arial Black" charset="0"/>
              </a:defRPr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RU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err="1"/>
              <a:t>С</a:t>
            </a:r>
            <a:r>
              <a:rPr lang="ru-RU" dirty="0" err="1"/>
              <a:t>четчик</a:t>
            </a:r>
            <a:r>
              <a:rPr lang="ru-RU" dirty="0"/>
              <a:t>, вставленный на сайт X</a:t>
            </a:r>
            <a:r>
              <a:rPr lang="en-US" dirty="0"/>
              <a:t>XX</a:t>
            </a:r>
            <a:endParaRPr lang="en-RU" dirty="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66BF3B58-A0E6-A05D-5E18-B0BA9A516BFA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598721" y="3197371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30" name="Picture Placeholder 10">
            <a:extLst>
              <a:ext uri="{FF2B5EF4-FFF2-40B4-BE49-F238E27FC236}">
                <a16:creationId xmlns:a16="http://schemas.microsoft.com/office/drawing/2014/main" id="{F50C4DE8-75DE-C9FB-49AB-665667414938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598721" y="5071459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FCFB28FA-7AFE-86B7-16FC-13C54D00AE0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863422" y="3186756"/>
            <a:ext cx="2957650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tabLst/>
              <a:defRPr lang="en-GB" sz="2352" b="0" i="0" cap="none" spc="71" baseline="0" smtClean="0">
                <a:latin typeface="MTS Text Medium" panose="020B0306020102020303" pitchFamily="34" charset="0"/>
                <a:ea typeface="MTS Text Medium" panose="020B0306020102020303" pitchFamily="34" charset="0"/>
                <a:cs typeface="Arial Black" charset="0"/>
              </a:defRPr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RU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err="1"/>
              <a:t>С</a:t>
            </a:r>
            <a:r>
              <a:rPr lang="ru-RU" dirty="0" err="1"/>
              <a:t>четчик</a:t>
            </a:r>
            <a:r>
              <a:rPr lang="ru-RU" dirty="0"/>
              <a:t>, вставленный на сайт X</a:t>
            </a:r>
            <a:r>
              <a:rPr lang="en-US" dirty="0"/>
              <a:t>XX</a:t>
            </a:r>
            <a:endParaRPr lang="en-RU" dirty="0"/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672F4833-4617-9895-3870-B71FA41469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863422" y="5091566"/>
            <a:ext cx="2957650" cy="12202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12695" indent="-12695">
              <a:tabLst/>
              <a:defRPr lang="en-GB" sz="2352" b="0" i="0" cap="none" spc="71" baseline="0" smtClean="0">
                <a:latin typeface="MTS Text Medium" panose="020B0306020102020303" pitchFamily="34" charset="0"/>
                <a:ea typeface="MTS Text Medium" panose="020B0306020102020303" pitchFamily="34" charset="0"/>
                <a:cs typeface="Arial Black" charset="0"/>
              </a:defRPr>
            </a:lvl1pPr>
            <a:lvl2pPr>
              <a:defRPr lang="en-GB" smtClean="0"/>
            </a:lvl2pPr>
            <a:lvl3pPr>
              <a:defRPr lang="en-GB" smtClean="0"/>
            </a:lvl3pPr>
            <a:lvl4pPr>
              <a:defRPr lang="en-GB" smtClean="0"/>
            </a:lvl4pPr>
            <a:lvl5pPr>
              <a:defRPr lang="en-RU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 err="1"/>
              <a:t>С</a:t>
            </a:r>
            <a:r>
              <a:rPr lang="ru-RU" dirty="0" err="1"/>
              <a:t>четчик</a:t>
            </a:r>
            <a:r>
              <a:rPr lang="ru-RU" dirty="0"/>
              <a:t>, вставленный на сайт X</a:t>
            </a:r>
            <a:r>
              <a:rPr lang="en-US" dirty="0"/>
              <a:t>XX</a:t>
            </a:r>
            <a:endParaRPr lang="en-RU" dirty="0"/>
          </a:p>
        </p:txBody>
      </p:sp>
      <p:sp>
        <p:nvSpPr>
          <p:cNvPr id="40" name="Picture Placeholder 10">
            <a:extLst>
              <a:ext uri="{FF2B5EF4-FFF2-40B4-BE49-F238E27FC236}">
                <a16:creationId xmlns:a16="http://schemas.microsoft.com/office/drawing/2014/main" id="{1CC18AFE-2696-B264-340B-0B6044D686E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11337041" y="3197371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sp>
        <p:nvSpPr>
          <p:cNvPr id="41" name="Picture Placeholder 10">
            <a:extLst>
              <a:ext uri="{FF2B5EF4-FFF2-40B4-BE49-F238E27FC236}">
                <a16:creationId xmlns:a16="http://schemas.microsoft.com/office/drawing/2014/main" id="{082D5ECB-36E4-8F94-8F12-53DDEDF20335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1337041" y="5071459"/>
            <a:ext cx="761979" cy="57841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bg1">
                    <a:lumMod val="6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B1FE96B-762C-668F-AA65-A700C0AA5D1B}"/>
              </a:ext>
            </a:extLst>
          </p:cNvPr>
          <p:cNvCxnSpPr>
            <a:cxnSpLocks/>
          </p:cNvCxnSpPr>
          <p:nvPr/>
        </p:nvCxnSpPr>
        <p:spPr>
          <a:xfrm>
            <a:off x="3132377" y="2882917"/>
            <a:ext cx="4132198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AA2A2F1-D6CA-1D3A-D41E-E810301F4604}"/>
              </a:ext>
            </a:extLst>
          </p:cNvPr>
          <p:cNvCxnSpPr>
            <a:cxnSpLocks/>
          </p:cNvCxnSpPr>
          <p:nvPr/>
        </p:nvCxnSpPr>
        <p:spPr>
          <a:xfrm>
            <a:off x="3132377" y="4849173"/>
            <a:ext cx="4132198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3A6CEA1-742C-35C6-4E04-CE57160495BC}"/>
              </a:ext>
            </a:extLst>
          </p:cNvPr>
          <p:cNvCxnSpPr>
            <a:cxnSpLocks/>
          </p:cNvCxnSpPr>
          <p:nvPr/>
        </p:nvCxnSpPr>
        <p:spPr>
          <a:xfrm>
            <a:off x="7863422" y="2882917"/>
            <a:ext cx="4132198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572920E-B229-7406-567C-EF585BE0A6CF}"/>
              </a:ext>
            </a:extLst>
          </p:cNvPr>
          <p:cNvCxnSpPr>
            <a:cxnSpLocks/>
          </p:cNvCxnSpPr>
          <p:nvPr/>
        </p:nvCxnSpPr>
        <p:spPr>
          <a:xfrm>
            <a:off x="7863422" y="4849173"/>
            <a:ext cx="4132198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14">
            <a:extLst>
              <a:ext uri="{FF2B5EF4-FFF2-40B4-BE49-F238E27FC236}">
                <a16:creationId xmlns:a16="http://schemas.microsoft.com/office/drawing/2014/main" id="{7B664044-89A3-F03C-5739-FDD14376B2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35018" y="1854533"/>
            <a:ext cx="2586054" cy="7194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За месяц на сайт заходят с мобильных устройств ХХХ млн людей — совершенно репрезентативная выборка для построения аналитики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83C4A85-119E-8A88-FC38-DEEFFCCA7462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FEB09C8-78B1-2987-B794-0DA15A73706F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DA6CC0CA-F394-7145-CBAD-D4BE61508763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0440A3B8-1218-7499-5732-858105BDAED0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C708B326-2FB0-01DA-8395-935557DCA838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47410643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на плашк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F3EA5239-C60D-7906-7219-F905258B85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7661" y="768408"/>
            <a:ext cx="5904789" cy="2660592"/>
          </a:xfrm>
          <a:prstGeom prst="rect">
            <a:avLst/>
          </a:prstGeom>
          <a:solidFill>
            <a:schemeClr val="accent3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Статистика</a:t>
            </a:r>
            <a:endParaRPr lang="en-RU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679332A-152A-E7A1-A6B5-6D0E08C624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46628" y="1297784"/>
            <a:ext cx="8264396" cy="3774433"/>
          </a:xfrm>
          <a:prstGeom prst="rect">
            <a:avLst/>
          </a:prstGeom>
          <a:solidFill>
            <a:schemeClr val="accent1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Рассылка</a:t>
            </a:r>
            <a:endParaRPr lang="en-RU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2D401DC-933A-9E21-4A02-29C7A44499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8801" y="1997132"/>
            <a:ext cx="10643040" cy="4860868"/>
          </a:xfrm>
          <a:prstGeom prst="rect">
            <a:avLst/>
          </a:prstGeom>
          <a:solidFill>
            <a:schemeClr val="accent2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Аудитория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B993857D-BCD2-30DB-FB6D-5E6ED05BAA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4125" y="4208341"/>
            <a:ext cx="4522459" cy="2078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42 </a:t>
            </a:r>
            <a:br>
              <a:rPr lang="ru-RU" dirty="0"/>
            </a:br>
            <a:r>
              <a:rPr lang="ru-RU" dirty="0"/>
              <a:t>МЛН</a:t>
            </a:r>
            <a:endParaRPr lang="en-RU" dirty="0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CB4174CE-88CE-9C4E-B0A1-F445A0ED35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08723" y="4208341"/>
            <a:ext cx="4712349" cy="2078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115 </a:t>
            </a:r>
            <a:br>
              <a:rPr lang="ru-RU" dirty="0"/>
            </a:br>
            <a:r>
              <a:rPr lang="ru-RU" dirty="0"/>
              <a:t>МЛН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C38ED4B-E122-6151-EFF4-2E24C340AC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4125" y="6333295"/>
            <a:ext cx="4522459" cy="369469"/>
          </a:xfrm>
          <a:prstGeom prst="rect">
            <a:avLst/>
          </a:prstGeom>
        </p:spPr>
        <p:txBody>
          <a:bodyPr lIns="18000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никальных пользователей </a:t>
            </a:r>
            <a:br>
              <a:rPr lang="ru-RU" dirty="0"/>
            </a:br>
            <a:r>
              <a:rPr lang="ru-RU" dirty="0"/>
              <a:t>ежедневно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9DBFA0-FE2C-B77D-B514-766A022D3AF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6333295"/>
            <a:ext cx="4725072" cy="477911"/>
          </a:xfrm>
          <a:prstGeom prst="rect">
            <a:avLst/>
          </a:prstGeom>
        </p:spPr>
        <p:txBody>
          <a:bodyPr lIns="18000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никальных пользователей </a:t>
            </a:r>
            <a:br>
              <a:rPr lang="ru-RU" dirty="0"/>
            </a:br>
            <a:r>
              <a:rPr lang="ru-RU" dirty="0"/>
              <a:t>ежедневно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6F5453E-3F84-10FA-690E-1070AF66E35D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C792561-A106-9CFA-68F9-B58B1C27F2E4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221E8B72-776A-110A-704B-4567827E4D1A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211D526E-53D1-7E41-1FEF-53BEBF6CEDB1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38BC381-5D8E-2E79-D7AE-9D861E2FFE6B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98744006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на плашках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F3EA5239-C60D-7906-7219-F905258B85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7661" y="768408"/>
            <a:ext cx="5904789" cy="2660592"/>
          </a:xfrm>
          <a:prstGeom prst="rect">
            <a:avLst/>
          </a:prstGeom>
          <a:solidFill>
            <a:schemeClr val="accent4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Показатели</a:t>
            </a:r>
            <a:endParaRPr lang="en-RU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679332A-152A-E7A1-A6B5-6D0E08C624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46628" y="1297784"/>
            <a:ext cx="8264396" cy="3774433"/>
          </a:xfrm>
          <a:prstGeom prst="rect">
            <a:avLst/>
          </a:prstGeom>
          <a:solidFill>
            <a:schemeClr val="accent3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Статистика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2D401DC-933A-9E21-4A02-29C7A44499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8801" y="1997132"/>
            <a:ext cx="10643040" cy="4860868"/>
          </a:xfrm>
          <a:prstGeom prst="rect">
            <a:avLst/>
          </a:prstGeom>
          <a:solidFill>
            <a:schemeClr val="accent1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Рассылка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C38ED4B-E122-6151-EFF4-2E24C340AC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4124" y="3429000"/>
            <a:ext cx="9281248" cy="327376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3998" b="0" i="0" spc="0" baseline="0">
                <a:solidFill>
                  <a:schemeClr val="tx1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Какой-нибудь небольшой, текст для перебивки внимания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29D4802-04EC-D72D-868A-71C36773DBA8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1F62E00-D3B0-96A5-1AF9-A61FFFA5C00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A31BF771-4817-A54D-02E7-D86B6E975624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0E386F0B-3A5D-E840-2D82-55D0FFE52AB1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2061AA2A-5DEA-C493-E771-C84F12FFEFE8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155079679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на плашках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F3EA5239-C60D-7906-7219-F905258B85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7661" y="768408"/>
            <a:ext cx="5904789" cy="2660592"/>
          </a:xfrm>
          <a:prstGeom prst="rect">
            <a:avLst/>
          </a:prstGeom>
          <a:solidFill>
            <a:schemeClr val="accent2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Аудитория</a:t>
            </a:r>
            <a:endParaRPr lang="en-RU" dirty="0"/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8679332A-152A-E7A1-A6B5-6D0E08C624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46628" y="1297784"/>
            <a:ext cx="8264396" cy="3774433"/>
          </a:xfrm>
          <a:prstGeom prst="rect">
            <a:avLst/>
          </a:prstGeom>
          <a:solidFill>
            <a:schemeClr val="accent4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Показатели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2D401DC-933A-9E21-4A02-29C7A44499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8801" y="1997132"/>
            <a:ext cx="10643040" cy="4860868"/>
          </a:xfrm>
          <a:prstGeom prst="rect">
            <a:avLst/>
          </a:prstGeom>
          <a:solidFill>
            <a:schemeClr val="accent3"/>
          </a:solidFill>
        </p:spPr>
        <p:txBody>
          <a:bodyPr lIns="360000" tIns="180000"/>
          <a:lstStyle>
            <a:lvl1pPr marL="0" indent="0">
              <a:buFontTx/>
              <a:buNone/>
              <a:defRPr sz="2352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 marL="967525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 marL="1451289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 marL="1935052" indent="0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lvl="0"/>
            <a:r>
              <a:rPr lang="ru-RU" dirty="0"/>
              <a:t>Статистика</a:t>
            </a:r>
            <a:endParaRPr lang="en-RU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B993857D-BCD2-30DB-FB6D-5E6ED05BAA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4125" y="4208341"/>
            <a:ext cx="4522459" cy="2078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42 </a:t>
            </a:r>
            <a:br>
              <a:rPr lang="ru-RU" dirty="0"/>
            </a:br>
            <a:r>
              <a:rPr lang="ru-RU" dirty="0"/>
              <a:t>МЛН</a:t>
            </a:r>
            <a:endParaRPr lang="en-RU" dirty="0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CB4174CE-88CE-9C4E-B0A1-F445A0ED35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08723" y="4208341"/>
            <a:ext cx="4712349" cy="2078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115 </a:t>
            </a:r>
            <a:br>
              <a:rPr lang="ru-RU" dirty="0"/>
            </a:br>
            <a:r>
              <a:rPr lang="ru-RU" dirty="0"/>
              <a:t>МЛН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DC38ED4B-E122-6151-EFF4-2E24C340AC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4125" y="6333295"/>
            <a:ext cx="4522459" cy="369469"/>
          </a:xfrm>
          <a:prstGeom prst="rect">
            <a:avLst/>
          </a:prstGeom>
        </p:spPr>
        <p:txBody>
          <a:bodyPr lIns="18000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никальных пользователей </a:t>
            </a:r>
            <a:br>
              <a:rPr lang="ru-RU" dirty="0"/>
            </a:br>
            <a:r>
              <a:rPr lang="ru-RU" dirty="0"/>
              <a:t>ежедневно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9DBFA0-FE2C-B77D-B514-766A022D3AF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6333295"/>
            <a:ext cx="4725072" cy="477911"/>
          </a:xfrm>
          <a:prstGeom prst="rect">
            <a:avLst/>
          </a:prstGeom>
        </p:spPr>
        <p:txBody>
          <a:bodyPr lIns="18000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никальных пользователей </a:t>
            </a:r>
            <a:br>
              <a:rPr lang="ru-RU" dirty="0"/>
            </a:br>
            <a:r>
              <a:rPr lang="ru-RU" dirty="0"/>
              <a:t>ежедневно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1DD58D2-9775-3258-618E-8EEF6213410A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C3F70D5-1F4A-9C9E-CC6F-15BB7D41959A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559981A-4D4E-1EA7-0644-D580565BBDCE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E9A3659D-084E-C773-8278-6F71AFDE7EB2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63D43639-0E7C-94D9-BA98-75491C524209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4157914244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-88985" y="4197364"/>
            <a:ext cx="12369970" cy="272902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диаграммы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5B9C3DDA-22FC-E403-D595-E88DC13191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0407" y="3185710"/>
            <a:ext cx="2978051" cy="9470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70</a:t>
            </a:r>
            <a:r>
              <a:rPr lang="en-US" dirty="0"/>
              <a:t>%</a:t>
            </a:r>
            <a:endParaRPr lang="en-RU" dirty="0"/>
          </a:p>
        </p:txBody>
      </p:sp>
      <p:sp>
        <p:nvSpPr>
          <p:cNvPr id="15" name="Text Placeholder 28">
            <a:extLst>
              <a:ext uri="{FF2B5EF4-FFF2-40B4-BE49-F238E27FC236}">
                <a16:creationId xmlns:a16="http://schemas.microsoft.com/office/drawing/2014/main" id="{0F59FC28-561D-B655-D184-73C44DB834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51198" y="3185710"/>
            <a:ext cx="2978051" cy="9470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en-US" dirty="0"/>
              <a:t>3</a:t>
            </a:r>
            <a:r>
              <a:rPr lang="ru-RU" dirty="0"/>
              <a:t>0</a:t>
            </a:r>
            <a:r>
              <a:rPr lang="en-US" dirty="0"/>
              <a:t>%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0435AAC-E7F8-0B4F-CA9D-CA61EB1C62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0407" y="4414846"/>
            <a:ext cx="2978050" cy="369469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Пользователей услуг мобильной связи и интернета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77764E38-16CB-F1CE-4251-3CCD1087CE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7580" y="4414846"/>
            <a:ext cx="2978050" cy="369469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Пользователей услуг мобильной связи и интернета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2939560812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Акциденция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5B9C3DDA-22FC-E403-D595-E88DC13191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4458" y="3824683"/>
            <a:ext cx="11911543" cy="288434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2579" b="0" i="0" cap="all" spc="0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12 млн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06D503F-C213-A189-0BBE-091431A0DD5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180C67B-F430-5AF3-8DFC-113025D4CD4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3E94E7A-F8E6-DCA1-DD02-A9A5940C79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itle 25">
            <a:extLst>
              <a:ext uri="{FF2B5EF4-FFF2-40B4-BE49-F238E27FC236}">
                <a16:creationId xmlns:a16="http://schemas.microsoft.com/office/drawing/2014/main" id="{02A825DA-4FEB-C9AB-447C-FD5493363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5303778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Более 70% населения Москвы пользуются услугами МТС.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70583093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-88985" y="2374254"/>
            <a:ext cx="12369970" cy="455213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5B9C3DDA-22FC-E403-D595-E88DC13191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4815" y="2879223"/>
            <a:ext cx="1756221" cy="54771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buFontTx/>
              <a:buNone/>
              <a:defRPr sz="2869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10</a:t>
            </a:r>
            <a:r>
              <a:rPr lang="en-US" dirty="0"/>
              <a:t>%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67C5D639-070C-48C5-0DBF-ED7F47ED6E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815" y="2522406"/>
            <a:ext cx="1756221" cy="2707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нные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58D8356-7D2E-909A-2D53-29325B782D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4815" y="3431059"/>
            <a:ext cx="2314687" cy="9045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В этом квартале мы сделали вот это и вот это, что дало успешный показатель.</a:t>
            </a:r>
          </a:p>
        </p:txBody>
      </p:sp>
    </p:spTree>
    <p:extLst>
      <p:ext uri="{BB962C8B-B14F-4D97-AF65-F5344CB8AC3E}">
        <p14:creationId xmlns:p14="http://schemas.microsoft.com/office/powerpoint/2010/main" val="140829813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-88985" y="2374254"/>
            <a:ext cx="12369970" cy="455213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5B9C3DDA-22FC-E403-D595-E88DC13191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4814" y="2851172"/>
            <a:ext cx="2314687" cy="7713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5127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10</a:t>
            </a:r>
            <a:r>
              <a:rPr lang="en-US" dirty="0"/>
              <a:t>%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67C5D639-070C-48C5-0DBF-ED7F47ED6E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132377" y="2851172"/>
            <a:ext cx="1756221" cy="2707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нные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58D8356-7D2E-909A-2D53-29325B782D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32377" y="3180766"/>
            <a:ext cx="2314687" cy="9045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В этом квартале мы сделали вот это и вот это, что дало успешный показатель.</a:t>
            </a:r>
          </a:p>
        </p:txBody>
      </p:sp>
    </p:spTree>
    <p:extLst>
      <p:ext uri="{BB962C8B-B14F-4D97-AF65-F5344CB8AC3E}">
        <p14:creationId xmlns:p14="http://schemas.microsoft.com/office/powerpoint/2010/main" val="420891922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с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-88985" y="3121966"/>
            <a:ext cx="12369970" cy="295195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B6D9C6E-F54C-2C86-0593-248E0B3462AA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0" y="1376230"/>
            <a:ext cx="12192000" cy="1745863"/>
          </a:xfrm>
        </p:spPr>
        <p:txBody>
          <a:bodyPr anchor="ctr"/>
          <a:lstStyle>
            <a:lvl1pPr algn="ctr">
              <a:defRPr/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Таблица</a:t>
            </a:r>
            <a:endParaRPr lang="en-RU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E17368-618B-6E9E-5DC0-F57EAFBA02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D66CB3-6AE7-4DBD-389A-80D9B1631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2AD494-794A-491F-4D61-DFF138D7DD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22375169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aphic 12">
            <a:extLst>
              <a:ext uri="{FF2B5EF4-FFF2-40B4-BE49-F238E27FC236}">
                <a16:creationId xmlns:a16="http://schemas.microsoft.com/office/drawing/2014/main" id="{836474A4-412E-2D1D-1CA0-8ED3881ED400}"/>
              </a:ext>
            </a:extLst>
          </p:cNvPr>
          <p:cNvGrpSpPr/>
          <p:nvPr/>
        </p:nvGrpSpPr>
        <p:grpSpPr>
          <a:xfrm>
            <a:off x="11421554" y="-374"/>
            <a:ext cx="770446" cy="770488"/>
            <a:chOff x="12388850" y="6718300"/>
            <a:chExt cx="1143000" cy="1143000"/>
          </a:xfrm>
        </p:grpSpPr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295C8C1D-A6F1-1F06-7B54-C6A2D6CC38FE}"/>
                </a:ext>
              </a:extLst>
            </p:cNvPr>
            <p:cNvSpPr/>
            <p:nvPr/>
          </p:nvSpPr>
          <p:spPr>
            <a:xfrm>
              <a:off x="12388850" y="6718300"/>
              <a:ext cx="1143000" cy="1143000"/>
            </a:xfrm>
            <a:custGeom>
              <a:avLst/>
              <a:gdLst>
                <a:gd name="connsiteX0" fmla="*/ 0 w 1143000"/>
                <a:gd name="connsiteY0" fmla="*/ 0 h 1143000"/>
                <a:gd name="connsiteX1" fmla="*/ 1143000 w 1143000"/>
                <a:gd name="connsiteY1" fmla="*/ 0 h 1143000"/>
                <a:gd name="connsiteX2" fmla="*/ 1143000 w 1143000"/>
                <a:gd name="connsiteY2" fmla="*/ 1143000 h 1143000"/>
                <a:gd name="connsiteX3" fmla="*/ 571500 w 1143000"/>
                <a:gd name="connsiteY3" fmla="*/ 1143000 h 1143000"/>
                <a:gd name="connsiteX4" fmla="*/ 571500 w 1143000"/>
                <a:gd name="connsiteY4" fmla="*/ 571500 h 1143000"/>
                <a:gd name="connsiteX5" fmla="*/ 0 w 1143000"/>
                <a:gd name="connsiteY5" fmla="*/ 57150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000" h="1143000">
                  <a:moveTo>
                    <a:pt x="0" y="0"/>
                  </a:moveTo>
                  <a:lnTo>
                    <a:pt x="1143000" y="0"/>
                  </a:lnTo>
                  <a:lnTo>
                    <a:pt x="1143000" y="1143000"/>
                  </a:lnTo>
                  <a:lnTo>
                    <a:pt x="571500" y="1143000"/>
                  </a:lnTo>
                  <a:lnTo>
                    <a:pt x="57150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53690BBA-5869-3DBB-4AE0-B2D98B1BABB8}"/>
                </a:ext>
              </a:extLst>
            </p:cNvPr>
            <p:cNvSpPr/>
            <p:nvPr/>
          </p:nvSpPr>
          <p:spPr>
            <a:xfrm>
              <a:off x="13150468" y="6805453"/>
              <a:ext cx="294036" cy="265366"/>
            </a:xfrm>
            <a:custGeom>
              <a:avLst/>
              <a:gdLst>
                <a:gd name="connsiteX0" fmla="*/ 0 w 294036"/>
                <a:gd name="connsiteY0" fmla="*/ 0 h 265366"/>
                <a:gd name="connsiteX1" fmla="*/ 0 w 294036"/>
                <a:gd name="connsiteY1" fmla="*/ 53340 h 265366"/>
                <a:gd name="connsiteX2" fmla="*/ 114871 w 294036"/>
                <a:gd name="connsiteY2" fmla="*/ 53340 h 265366"/>
                <a:gd name="connsiteX3" fmla="*/ 114871 w 294036"/>
                <a:gd name="connsiteY3" fmla="*/ 261938 h 265366"/>
                <a:gd name="connsiteX4" fmla="*/ 114871 w 294036"/>
                <a:gd name="connsiteY4" fmla="*/ 265367 h 265366"/>
                <a:gd name="connsiteX5" fmla="*/ 179165 w 294036"/>
                <a:gd name="connsiteY5" fmla="*/ 265367 h 265366"/>
                <a:gd name="connsiteX6" fmla="*/ 179165 w 294036"/>
                <a:gd name="connsiteY6" fmla="*/ 53340 h 265366"/>
                <a:gd name="connsiteX7" fmla="*/ 294037 w 294036"/>
                <a:gd name="connsiteY7" fmla="*/ 53340 h 265366"/>
                <a:gd name="connsiteX8" fmla="*/ 294037 w 294036"/>
                <a:gd name="connsiteY8" fmla="*/ 0 h 26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036" h="265366">
                  <a:moveTo>
                    <a:pt x="0" y="0"/>
                  </a:moveTo>
                  <a:lnTo>
                    <a:pt x="0" y="53340"/>
                  </a:lnTo>
                  <a:lnTo>
                    <a:pt x="114871" y="53340"/>
                  </a:lnTo>
                  <a:lnTo>
                    <a:pt x="114871" y="261938"/>
                  </a:lnTo>
                  <a:lnTo>
                    <a:pt x="114871" y="265367"/>
                  </a:lnTo>
                  <a:lnTo>
                    <a:pt x="179165" y="265367"/>
                  </a:lnTo>
                  <a:lnTo>
                    <a:pt x="179165" y="53340"/>
                  </a:lnTo>
                  <a:lnTo>
                    <a:pt x="294037" y="53340"/>
                  </a:lnTo>
                  <a:lnTo>
                    <a:pt x="294037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DC51545-FADD-8B22-BE63-4252EE549BB7}"/>
                </a:ext>
              </a:extLst>
            </p:cNvPr>
            <p:cNvSpPr/>
            <p:nvPr/>
          </p:nvSpPr>
          <p:spPr>
            <a:xfrm>
              <a:off x="12476956" y="6806215"/>
              <a:ext cx="351567" cy="263747"/>
            </a:xfrm>
            <a:custGeom>
              <a:avLst/>
              <a:gdLst>
                <a:gd name="connsiteX0" fmla="*/ 259747 w 351567"/>
                <a:gd name="connsiteY0" fmla="*/ 0 h 263747"/>
                <a:gd name="connsiteX1" fmla="*/ 175736 w 351567"/>
                <a:gd name="connsiteY1" fmla="*/ 174498 h 263747"/>
                <a:gd name="connsiteX2" fmla="*/ 91726 w 351567"/>
                <a:gd name="connsiteY2" fmla="*/ 0 h 263747"/>
                <a:gd name="connsiteX3" fmla="*/ 0 w 351567"/>
                <a:gd name="connsiteY3" fmla="*/ 0 h 263747"/>
                <a:gd name="connsiteX4" fmla="*/ 0 w 351567"/>
                <a:gd name="connsiteY4" fmla="*/ 263747 h 263747"/>
                <a:gd name="connsiteX5" fmla="*/ 64294 w 351567"/>
                <a:gd name="connsiteY5" fmla="*/ 263747 h 263747"/>
                <a:gd name="connsiteX6" fmla="*/ 64294 w 351567"/>
                <a:gd name="connsiteY6" fmla="*/ 74962 h 263747"/>
                <a:gd name="connsiteX7" fmla="*/ 146399 w 351567"/>
                <a:gd name="connsiteY7" fmla="*/ 234505 h 263747"/>
                <a:gd name="connsiteX8" fmla="*/ 205073 w 351567"/>
                <a:gd name="connsiteY8" fmla="*/ 234505 h 263747"/>
                <a:gd name="connsiteX9" fmla="*/ 287179 w 351567"/>
                <a:gd name="connsiteY9" fmla="*/ 74962 h 263747"/>
                <a:gd name="connsiteX10" fmla="*/ 287179 w 351567"/>
                <a:gd name="connsiteY10" fmla="*/ 263747 h 263747"/>
                <a:gd name="connsiteX11" fmla="*/ 351568 w 351567"/>
                <a:gd name="connsiteY11" fmla="*/ 263747 h 263747"/>
                <a:gd name="connsiteX12" fmla="*/ 351568 w 351567"/>
                <a:gd name="connsiteY12" fmla="*/ 0 h 26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1567" h="263747">
                  <a:moveTo>
                    <a:pt x="259747" y="0"/>
                  </a:moveTo>
                  <a:lnTo>
                    <a:pt x="175736" y="174498"/>
                  </a:lnTo>
                  <a:lnTo>
                    <a:pt x="91726" y="0"/>
                  </a:lnTo>
                  <a:lnTo>
                    <a:pt x="0" y="0"/>
                  </a:lnTo>
                  <a:lnTo>
                    <a:pt x="0" y="263747"/>
                  </a:lnTo>
                  <a:lnTo>
                    <a:pt x="64294" y="263747"/>
                  </a:lnTo>
                  <a:lnTo>
                    <a:pt x="64294" y="74962"/>
                  </a:lnTo>
                  <a:lnTo>
                    <a:pt x="146399" y="234505"/>
                  </a:lnTo>
                  <a:lnTo>
                    <a:pt x="205073" y="234505"/>
                  </a:lnTo>
                  <a:lnTo>
                    <a:pt x="287179" y="74962"/>
                  </a:lnTo>
                  <a:lnTo>
                    <a:pt x="287179" y="263747"/>
                  </a:lnTo>
                  <a:lnTo>
                    <a:pt x="351568" y="263747"/>
                  </a:lnTo>
                  <a:lnTo>
                    <a:pt x="351568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CDB98746-6E4C-9A18-C044-034A7A748037}"/>
                </a:ext>
              </a:extLst>
            </p:cNvPr>
            <p:cNvSpPr/>
            <p:nvPr/>
          </p:nvSpPr>
          <p:spPr>
            <a:xfrm>
              <a:off x="13150468" y="7503872"/>
              <a:ext cx="293751" cy="275085"/>
            </a:xfrm>
            <a:custGeom>
              <a:avLst/>
              <a:gdLst>
                <a:gd name="connsiteX0" fmla="*/ 229457 w 293751"/>
                <a:gd name="connsiteY0" fmla="*/ 181596 h 275085"/>
                <a:gd name="connsiteX1" fmla="*/ 216884 w 293751"/>
                <a:gd name="connsiteY1" fmla="*/ 207314 h 275085"/>
                <a:gd name="connsiteX2" fmla="*/ 191167 w 293751"/>
                <a:gd name="connsiteY2" fmla="*/ 220268 h 275085"/>
                <a:gd name="connsiteX3" fmla="*/ 148590 w 293751"/>
                <a:gd name="connsiteY3" fmla="*/ 224173 h 275085"/>
                <a:gd name="connsiteX4" fmla="*/ 103727 w 293751"/>
                <a:gd name="connsiteY4" fmla="*/ 217601 h 275085"/>
                <a:gd name="connsiteX5" fmla="*/ 74581 w 293751"/>
                <a:gd name="connsiteY5" fmla="*/ 195693 h 275085"/>
                <a:gd name="connsiteX6" fmla="*/ 64103 w 293751"/>
                <a:gd name="connsiteY6" fmla="*/ 151307 h 275085"/>
                <a:gd name="connsiteX7" fmla="*/ 64103 w 293751"/>
                <a:gd name="connsiteY7" fmla="*/ 124256 h 275085"/>
                <a:gd name="connsiteX8" fmla="*/ 74581 w 293751"/>
                <a:gd name="connsiteY8" fmla="*/ 79679 h 275085"/>
                <a:gd name="connsiteX9" fmla="*/ 103632 w 293751"/>
                <a:gd name="connsiteY9" fmla="*/ 57771 h 275085"/>
                <a:gd name="connsiteX10" fmla="*/ 148495 w 293751"/>
                <a:gd name="connsiteY10" fmla="*/ 51199 h 275085"/>
                <a:gd name="connsiteX11" fmla="*/ 191071 w 293751"/>
                <a:gd name="connsiteY11" fmla="*/ 55009 h 275085"/>
                <a:gd name="connsiteX12" fmla="*/ 216789 w 293751"/>
                <a:gd name="connsiteY12" fmla="*/ 67963 h 275085"/>
                <a:gd name="connsiteX13" fmla="*/ 229362 w 293751"/>
                <a:gd name="connsiteY13" fmla="*/ 93680 h 275085"/>
                <a:gd name="connsiteX14" fmla="*/ 293751 w 293751"/>
                <a:gd name="connsiteY14" fmla="*/ 93680 h 275085"/>
                <a:gd name="connsiteX15" fmla="*/ 271748 w 293751"/>
                <a:gd name="connsiteY15" fmla="*/ 38531 h 275085"/>
                <a:gd name="connsiteX16" fmla="*/ 223361 w 293751"/>
                <a:gd name="connsiteY16" fmla="*/ 9003 h 275085"/>
                <a:gd name="connsiteX17" fmla="*/ 148590 w 293751"/>
                <a:gd name="connsiteY17" fmla="*/ 50 h 275085"/>
                <a:gd name="connsiteX18" fmla="*/ 69152 w 293751"/>
                <a:gd name="connsiteY18" fmla="*/ 13194 h 275085"/>
                <a:gd name="connsiteX19" fmla="*/ 17717 w 293751"/>
                <a:gd name="connsiteY19" fmla="*/ 57200 h 275085"/>
                <a:gd name="connsiteX20" fmla="*/ 0 w 293751"/>
                <a:gd name="connsiteY20" fmla="*/ 134543 h 275085"/>
                <a:gd name="connsiteX21" fmla="*/ 0 w 293751"/>
                <a:gd name="connsiteY21" fmla="*/ 137495 h 275085"/>
                <a:gd name="connsiteX22" fmla="*/ 3429 w 293751"/>
                <a:gd name="connsiteY22" fmla="*/ 137591 h 275085"/>
                <a:gd name="connsiteX23" fmla="*/ 0 w 293751"/>
                <a:gd name="connsiteY23" fmla="*/ 137591 h 275085"/>
                <a:gd name="connsiteX24" fmla="*/ 0 w 293751"/>
                <a:gd name="connsiteY24" fmla="*/ 140543 h 275085"/>
                <a:gd name="connsiteX25" fmla="*/ 17717 w 293751"/>
                <a:gd name="connsiteY25" fmla="*/ 217886 h 275085"/>
                <a:gd name="connsiteX26" fmla="*/ 69152 w 293751"/>
                <a:gd name="connsiteY26" fmla="*/ 261892 h 275085"/>
                <a:gd name="connsiteX27" fmla="*/ 148590 w 293751"/>
                <a:gd name="connsiteY27" fmla="*/ 275036 h 275085"/>
                <a:gd name="connsiteX28" fmla="*/ 223361 w 293751"/>
                <a:gd name="connsiteY28" fmla="*/ 266083 h 275085"/>
                <a:gd name="connsiteX29" fmla="*/ 271748 w 293751"/>
                <a:gd name="connsiteY29" fmla="*/ 236555 h 275085"/>
                <a:gd name="connsiteX30" fmla="*/ 293751 w 293751"/>
                <a:gd name="connsiteY30" fmla="*/ 181406 h 275085"/>
                <a:gd name="connsiteX31" fmla="*/ 229457 w 293751"/>
                <a:gd name="connsiteY31" fmla="*/ 181596 h 27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93751" h="275085">
                  <a:moveTo>
                    <a:pt x="229457" y="181596"/>
                  </a:moveTo>
                  <a:cubicBezTo>
                    <a:pt x="228219" y="191312"/>
                    <a:pt x="223838" y="200360"/>
                    <a:pt x="216884" y="207314"/>
                  </a:cubicBezTo>
                  <a:cubicBezTo>
                    <a:pt x="209645" y="213886"/>
                    <a:pt x="200787" y="218363"/>
                    <a:pt x="191167" y="220268"/>
                  </a:cubicBezTo>
                  <a:cubicBezTo>
                    <a:pt x="177165" y="223030"/>
                    <a:pt x="162877" y="224363"/>
                    <a:pt x="148590" y="224173"/>
                  </a:cubicBezTo>
                  <a:cubicBezTo>
                    <a:pt x="133350" y="224459"/>
                    <a:pt x="118205" y="222268"/>
                    <a:pt x="103727" y="217601"/>
                  </a:cubicBezTo>
                  <a:cubicBezTo>
                    <a:pt x="91821" y="213695"/>
                    <a:pt x="81629" y="205980"/>
                    <a:pt x="74581" y="195693"/>
                  </a:cubicBezTo>
                  <a:cubicBezTo>
                    <a:pt x="67532" y="185311"/>
                    <a:pt x="64103" y="170357"/>
                    <a:pt x="64103" y="151307"/>
                  </a:cubicBezTo>
                  <a:lnTo>
                    <a:pt x="64103" y="124256"/>
                  </a:lnTo>
                  <a:cubicBezTo>
                    <a:pt x="64103" y="105015"/>
                    <a:pt x="67627" y="90061"/>
                    <a:pt x="74581" y="79679"/>
                  </a:cubicBezTo>
                  <a:cubicBezTo>
                    <a:pt x="81534" y="69296"/>
                    <a:pt x="91726" y="61581"/>
                    <a:pt x="103632" y="57771"/>
                  </a:cubicBezTo>
                  <a:cubicBezTo>
                    <a:pt x="118110" y="53104"/>
                    <a:pt x="133255" y="50913"/>
                    <a:pt x="148495" y="51199"/>
                  </a:cubicBezTo>
                  <a:cubicBezTo>
                    <a:pt x="162782" y="51008"/>
                    <a:pt x="177070" y="52247"/>
                    <a:pt x="191071" y="55009"/>
                  </a:cubicBezTo>
                  <a:cubicBezTo>
                    <a:pt x="200692" y="56914"/>
                    <a:pt x="209550" y="61391"/>
                    <a:pt x="216789" y="67963"/>
                  </a:cubicBezTo>
                  <a:cubicBezTo>
                    <a:pt x="223742" y="74916"/>
                    <a:pt x="228219" y="83965"/>
                    <a:pt x="229362" y="93680"/>
                  </a:cubicBezTo>
                  <a:lnTo>
                    <a:pt x="293751" y="93680"/>
                  </a:lnTo>
                  <a:cubicBezTo>
                    <a:pt x="292608" y="73392"/>
                    <a:pt x="284893" y="54056"/>
                    <a:pt x="271748" y="38531"/>
                  </a:cubicBezTo>
                  <a:cubicBezTo>
                    <a:pt x="258794" y="24243"/>
                    <a:pt x="242030" y="14051"/>
                    <a:pt x="223361" y="9003"/>
                  </a:cubicBezTo>
                  <a:cubicBezTo>
                    <a:pt x="198977" y="2526"/>
                    <a:pt x="173736" y="-427"/>
                    <a:pt x="148590" y="50"/>
                  </a:cubicBezTo>
                  <a:cubicBezTo>
                    <a:pt x="117729" y="50"/>
                    <a:pt x="90964" y="4526"/>
                    <a:pt x="69152" y="13194"/>
                  </a:cubicBezTo>
                  <a:cubicBezTo>
                    <a:pt x="47435" y="21576"/>
                    <a:pt x="29337" y="37102"/>
                    <a:pt x="17717" y="57200"/>
                  </a:cubicBezTo>
                  <a:cubicBezTo>
                    <a:pt x="6382" y="76631"/>
                    <a:pt x="381" y="102634"/>
                    <a:pt x="0" y="134543"/>
                  </a:cubicBezTo>
                  <a:lnTo>
                    <a:pt x="0" y="137495"/>
                  </a:lnTo>
                  <a:lnTo>
                    <a:pt x="3429" y="137591"/>
                  </a:lnTo>
                  <a:lnTo>
                    <a:pt x="0" y="137591"/>
                  </a:lnTo>
                  <a:lnTo>
                    <a:pt x="0" y="140543"/>
                  </a:lnTo>
                  <a:cubicBezTo>
                    <a:pt x="381" y="172452"/>
                    <a:pt x="6382" y="198360"/>
                    <a:pt x="17717" y="217886"/>
                  </a:cubicBezTo>
                  <a:cubicBezTo>
                    <a:pt x="29337" y="237984"/>
                    <a:pt x="47435" y="253510"/>
                    <a:pt x="69152" y="261892"/>
                  </a:cubicBezTo>
                  <a:cubicBezTo>
                    <a:pt x="91059" y="270655"/>
                    <a:pt x="117824" y="275036"/>
                    <a:pt x="148590" y="275036"/>
                  </a:cubicBezTo>
                  <a:cubicBezTo>
                    <a:pt x="173831" y="275513"/>
                    <a:pt x="198977" y="272560"/>
                    <a:pt x="223361" y="266083"/>
                  </a:cubicBezTo>
                  <a:cubicBezTo>
                    <a:pt x="241935" y="261130"/>
                    <a:pt x="258794" y="250843"/>
                    <a:pt x="271748" y="236555"/>
                  </a:cubicBezTo>
                  <a:cubicBezTo>
                    <a:pt x="284893" y="221030"/>
                    <a:pt x="292608" y="201694"/>
                    <a:pt x="293751" y="181406"/>
                  </a:cubicBezTo>
                  <a:lnTo>
                    <a:pt x="229457" y="1815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5B6B3A-981F-5054-5CD2-E0D77FFC9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8932" y="30440"/>
            <a:ext cx="10646026" cy="3352476"/>
          </a:xfrm>
        </p:spPr>
        <p:txBody>
          <a:bodyPr/>
          <a:lstStyle>
            <a:lvl1pPr>
              <a:lnSpc>
                <a:spcPct val="90000"/>
              </a:lnSpc>
              <a:defRPr sz="7762">
                <a:solidFill>
                  <a:schemeClr val="accent6"/>
                </a:solidFill>
              </a:defRPr>
            </a:lvl1pPr>
          </a:lstStyle>
          <a:p>
            <a:r>
              <a:rPr lang="ru-RU" dirty="0"/>
              <a:t>Такое название презентации </a:t>
            </a:r>
            <a:br>
              <a:rPr lang="en-US" dirty="0"/>
            </a:br>
            <a:r>
              <a:rPr lang="ru-RU" dirty="0"/>
              <a:t>3-4 строки</a:t>
            </a:r>
            <a:endParaRPr lang="en-RU" dirty="0"/>
          </a:p>
        </p:txBody>
      </p:sp>
      <p:sp>
        <p:nvSpPr>
          <p:cNvPr id="27" name="Picture Placeholder 25">
            <a:extLst>
              <a:ext uri="{FF2B5EF4-FFF2-40B4-BE49-F238E27FC236}">
                <a16:creationId xmlns:a16="http://schemas.microsoft.com/office/drawing/2014/main" id="{F57A500F-AA16-4C97-A16D-2B4239A3A70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F99AC35-C89F-D062-F2B4-047839CC2A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2992" y="4132546"/>
            <a:ext cx="3542259" cy="89123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0"/>
              </a:spcBef>
              <a:defRPr lang="en-GB" sz="1317" b="0" i="0" spc="33" baseline="0" smtClean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>
              <a:defRPr lang="en-GB" sz="1317" b="0" i="0" smtClean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2pPr>
            <a:lvl3pPr>
              <a:defRPr lang="en-GB" sz="1317" b="0" i="0" smtClean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3pPr>
            <a:lvl4pPr>
              <a:defRPr lang="en-GB" sz="1317" b="0" i="0" smtClean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4pPr>
            <a:lvl5pPr>
              <a:defRPr lang="en-RU" sz="1317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5pPr>
          </a:lstStyle>
          <a:p>
            <a:pPr marL="0" lvl="0" indent="0">
              <a:buFontTx/>
              <a:buNone/>
            </a:pPr>
            <a:r>
              <a:rPr lang="ru-RU" dirty="0"/>
              <a:t>Руководство для создания слайдов, которые будут усиливать ваши идеи</a:t>
            </a:r>
            <a:endParaRPr lang="en-RU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B41828F9-1EB6-00B2-3F71-852E0D373C3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3CE988F7-6ECB-F94F-8679-A0D42C8C5318}" type="datetimeFigureOut">
              <a:rPr lang="ru-RU" smtClean="0"/>
              <a:t>11.03.2024</a:t>
            </a:fld>
            <a:endParaRPr lang="ru-RU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9084AF6-87F7-7956-6563-C3A1F594F1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64169" y="6561683"/>
            <a:ext cx="1771155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 err="1"/>
              <a:t>Д</a:t>
            </a:r>
            <a:r>
              <a:rPr lang="ru-RU" dirty="0" err="1"/>
              <a:t>олжность</a:t>
            </a:r>
            <a:r>
              <a:rPr lang="ru-RU" dirty="0"/>
              <a:t> автора</a:t>
            </a:r>
            <a:endParaRPr lang="en-RU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B04BDDE-0C71-5245-1BDC-BC2271E5F9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45409" y="6561683"/>
            <a:ext cx="1748415" cy="2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988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GB" dirty="0" err="1"/>
              <a:t>И</a:t>
            </a:r>
            <a:r>
              <a:rPr lang="ru-RU" dirty="0" err="1"/>
              <a:t>мя</a:t>
            </a:r>
            <a:r>
              <a:rPr lang="ru-RU" dirty="0"/>
              <a:t> Фамилия</a:t>
            </a:r>
            <a:endParaRPr lang="en-RU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EB14A57-C58F-C3D8-D667-D2DF2629BAD7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Picture Placeholder 25">
            <a:extLst>
              <a:ext uri="{FF2B5EF4-FFF2-40B4-BE49-F238E27FC236}">
                <a16:creationId xmlns:a16="http://schemas.microsoft.com/office/drawing/2014/main" id="{E274097E-8066-795C-82AE-F5B797CDA38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939172337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с таблицей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8986" y="1927123"/>
            <a:ext cx="10732087" cy="414679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B6D9C6E-F54C-2C86-0593-248E0B3462AA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10211024" y="1995750"/>
            <a:ext cx="1790569" cy="4025909"/>
          </a:xfrm>
        </p:spPr>
        <p:txBody>
          <a:bodyPr anchor="ctr">
            <a:normAutofit/>
          </a:bodyPr>
          <a:lstStyle>
            <a:lvl1pPr algn="ctr">
              <a:defRPr sz="1882" b="0" i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Таблица</a:t>
            </a:r>
            <a:endParaRPr lang="en-RU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E17368-618B-6E9E-5DC0-F57EAFBA02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D66CB3-6AE7-4DBD-389A-80D9B1631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2AD494-794A-491F-4D61-DFF138D7DD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00777771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с таблицей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7074168" cy="1271352"/>
          </a:xfrm>
        </p:spPr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B6D9C6E-F54C-2C86-0593-248E0B3462AA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096000" y="2494687"/>
            <a:ext cx="5905593" cy="1306867"/>
          </a:xfrm>
        </p:spPr>
        <p:txBody>
          <a:bodyPr anchor="ctr"/>
          <a:lstStyle>
            <a:lvl1pPr algn="ctr">
              <a:defRPr/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Таблица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E17368-618B-6E9E-5DC0-F57EAFBA02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D66CB3-6AE7-4DBD-389A-80D9B1631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2AD494-794A-491F-4D61-DFF138D7DD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" name="Chart Placeholder 10">
            <a:extLst>
              <a:ext uri="{FF2B5EF4-FFF2-40B4-BE49-F238E27FC236}">
                <a16:creationId xmlns:a16="http://schemas.microsoft.com/office/drawing/2014/main" id="{050B4B7F-BD2D-F807-2CA9-3587E2B50CDF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28051" y="3429000"/>
            <a:ext cx="6046469" cy="264492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99804CBB-DACA-6CB5-21FA-19448A63B06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0177" y="2675575"/>
            <a:ext cx="1166903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E7669D2-E1CF-965E-14DD-EBE8B1E76DC8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1762343" y="2675575"/>
            <a:ext cx="183942" cy="183952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9D823CE-1964-16DC-5041-D68F1E49470F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4137170" y="2675575"/>
            <a:ext cx="183942" cy="183952"/>
          </a:xfrm>
          <a:prstGeom prst="ellipse">
            <a:avLst/>
          </a:prstGeom>
          <a:solidFill>
            <a:schemeClr val="accent4"/>
          </a:solidFill>
          <a:ln w="127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FB3DC3F-872F-0264-0914-E59DB0AC7AC3}"/>
              </a:ext>
            </a:extLst>
          </p:cNvPr>
          <p:cNvCxnSpPr/>
          <p:nvPr/>
        </p:nvCxnSpPr>
        <p:spPr>
          <a:xfrm>
            <a:off x="190407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716F7C5-DB61-CEF1-49A9-1457FA6FF3F4}"/>
              </a:ext>
            </a:extLst>
          </p:cNvPr>
          <p:cNvCxnSpPr/>
          <p:nvPr/>
        </p:nvCxnSpPr>
        <p:spPr>
          <a:xfrm>
            <a:off x="2555930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2EEF48FC-CE2B-5567-BBFA-89CF07EBF712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2538623" y="2675575"/>
            <a:ext cx="1166903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42EFDEA3-DD80-7811-4AF1-F8EFDF4A799E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210177" y="3796155"/>
            <a:ext cx="1166903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DC3B1C8-3BBA-AFB0-DE6A-57B05E7EA8D9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1762343" y="3796155"/>
            <a:ext cx="183942" cy="183952"/>
          </a:xfrm>
          <a:prstGeom prst="ellipse">
            <a:avLst/>
          </a:prstGeom>
          <a:solidFill>
            <a:schemeClr val="accent2"/>
          </a:solidFill>
          <a:ln w="127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3D5ED279-3133-FAE6-1DC1-42D0C43B6A66}"/>
              </a:ext>
            </a:extLst>
          </p:cNvPr>
          <p:cNvSpPr>
            <a:spLocks noGrp="1"/>
          </p:cNvSpPr>
          <p:nvPr>
            <p:ph type="body" sz="quarter" idx="142" hasCustomPrompt="1"/>
          </p:nvPr>
        </p:nvSpPr>
        <p:spPr>
          <a:xfrm>
            <a:off x="4137170" y="3796155"/>
            <a:ext cx="183942" cy="183952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DC86425-BC33-B020-D15E-6660A4DA1899}"/>
              </a:ext>
            </a:extLst>
          </p:cNvPr>
          <p:cNvCxnSpPr/>
          <p:nvPr/>
        </p:nvCxnSpPr>
        <p:spPr>
          <a:xfrm>
            <a:off x="190407" y="362014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459B026-8D22-5B26-B40B-5D4114735EC1}"/>
              </a:ext>
            </a:extLst>
          </p:cNvPr>
          <p:cNvCxnSpPr/>
          <p:nvPr/>
        </p:nvCxnSpPr>
        <p:spPr>
          <a:xfrm>
            <a:off x="2555930" y="362014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6703EA67-5401-EC05-DDEE-6DDADA5B34C4}"/>
              </a:ext>
            </a:extLst>
          </p:cNvPr>
          <p:cNvSpPr>
            <a:spLocks noGrp="1"/>
          </p:cNvSpPr>
          <p:nvPr>
            <p:ph type="body" sz="quarter" idx="143" hasCustomPrompt="1"/>
          </p:nvPr>
        </p:nvSpPr>
        <p:spPr>
          <a:xfrm>
            <a:off x="2538623" y="3796155"/>
            <a:ext cx="1166903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</p:spTree>
    <p:extLst>
      <p:ext uri="{BB962C8B-B14F-4D97-AF65-F5344CB8AC3E}">
        <p14:creationId xmlns:p14="http://schemas.microsoft.com/office/powerpoint/2010/main" val="387055207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с таблицей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10751211" cy="1271352"/>
          </a:xfrm>
        </p:spPr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E17368-618B-6E9E-5DC0-F57EAFBA02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D66CB3-6AE7-4DBD-389A-80D9B1631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2AD494-794A-491F-4D61-DFF138D7DD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86756776-5593-7CA3-A33C-B86F8A32F2C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4815" y="5281508"/>
            <a:ext cx="4655977" cy="9294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осква и </a:t>
            </a:r>
            <a:br>
              <a:rPr lang="ru-RU" dirty="0"/>
            </a:br>
            <a:r>
              <a:rPr lang="ru-RU" dirty="0"/>
              <a:t>Московская область</a:t>
            </a:r>
          </a:p>
        </p:txBody>
      </p:sp>
      <p:sp>
        <p:nvSpPr>
          <p:cNvPr id="6" name="Text Placeholder 28">
            <a:extLst>
              <a:ext uri="{FF2B5EF4-FFF2-40B4-BE49-F238E27FC236}">
                <a16:creationId xmlns:a16="http://schemas.microsoft.com/office/drawing/2014/main" id="{8DCE4EA3-F820-AA3B-BD68-A2602DD0BE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4459" y="4304930"/>
            <a:ext cx="4769366" cy="11548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5127" b="0" i="0" cap="all" spc="0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12млн</a:t>
            </a:r>
            <a:endParaRPr lang="en-RU" dirty="0"/>
          </a:p>
        </p:txBody>
      </p:sp>
      <p:sp>
        <p:nvSpPr>
          <p:cNvPr id="4" name="Table Placeholder 7">
            <a:extLst>
              <a:ext uri="{FF2B5EF4-FFF2-40B4-BE49-F238E27FC236}">
                <a16:creationId xmlns:a16="http://schemas.microsoft.com/office/drawing/2014/main" id="{A4767902-F4B5-5497-4012-2445724B04C4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096000" y="2494687"/>
            <a:ext cx="5905593" cy="1306867"/>
          </a:xfrm>
        </p:spPr>
        <p:txBody>
          <a:bodyPr anchor="ctr"/>
          <a:lstStyle>
            <a:lvl1pPr algn="ctr">
              <a:defRPr/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Таблица</a:t>
            </a:r>
            <a:endParaRPr lang="en-RU" dirty="0"/>
          </a:p>
        </p:txBody>
      </p:sp>
      <p:sp>
        <p:nvSpPr>
          <p:cNvPr id="7" name="Chart Placeholder 10">
            <a:extLst>
              <a:ext uri="{FF2B5EF4-FFF2-40B4-BE49-F238E27FC236}">
                <a16:creationId xmlns:a16="http://schemas.microsoft.com/office/drawing/2014/main" id="{0C39FE10-0A18-4D97-8E63-678716936F6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28051" y="3429000"/>
            <a:ext cx="6046469" cy="264492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График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98044906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с таблицей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117679" y="3429000"/>
            <a:ext cx="11956642" cy="264492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8259169" cy="1271352"/>
          </a:xfrm>
        </p:spPr>
        <p:txBody>
          <a:bodyPr/>
          <a:lstStyle/>
          <a:p>
            <a:r>
              <a:rPr lang="ru-RU" dirty="0"/>
              <a:t>Каналы прибыли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4B6D9C6E-F54C-2C86-0593-248E0B3462AA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190407" y="2840584"/>
            <a:ext cx="11811187" cy="158103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/>
              <a:t>Таблица</a:t>
            </a:r>
            <a:endParaRPr lang="en-RU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E17368-618B-6E9E-5DC0-F57EAFBA02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D66CB3-6AE7-4DBD-389A-80D9B1631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2AD494-794A-491F-4D61-DFF138D7DD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A718A05B-31CE-33A3-523F-CBEA4750B48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42450" y="1477633"/>
            <a:ext cx="2370750" cy="9294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осква и </a:t>
            </a:r>
            <a:br>
              <a:rPr lang="ru-RU" dirty="0"/>
            </a:br>
            <a:r>
              <a:rPr lang="ru-RU" dirty="0"/>
              <a:t>Москов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232819973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хе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5234F2CC-433B-5403-FA61-BEED6B82A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0"/>
            <a:ext cx="5312719" cy="1271352"/>
          </a:xfrm>
        </p:spPr>
        <p:txBody>
          <a:bodyPr/>
          <a:lstStyle/>
          <a:p>
            <a:r>
              <a:rPr lang="ru-RU" dirty="0"/>
              <a:t>Разделение потребителей</a:t>
            </a:r>
            <a:endParaRPr lang="en-RU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A23118-05B1-8567-188E-1A4C59987C9B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C39BD7E-362E-B7D9-86B3-7C600F3597B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5A50B02-5A02-F375-10F1-BC6CD116DF68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76979191-88F8-2B3E-E85C-151E9F4CB4C6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4BC037D9-C311-9E65-30C1-07E287089C6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BE17368-618B-6E9E-5DC0-F57EAFBA02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D66CB3-6AE7-4DBD-389A-80D9B16315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42AD494-794A-491F-4D61-DFF138D7DD3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4E412A-F048-A7FA-9063-743CED7D06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92583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CA7DA4AE-D56C-EED9-FA70-B46E744C1F6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3219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17CAA5B-174F-252A-6521-D984B47B26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3854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9C8FD1B-19AB-DB19-5D7C-2E3C9BCB062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94490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E8AC6AF-875C-37B9-2DF8-0038BD6B9EB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195125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3D3CC7A8-E55B-BA30-7F1F-3BFD95107B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695761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1BF3FCD-D458-942C-66EB-F7588A2497C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196396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90B85AB-B341-6785-995F-5CC3B7B6B42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97032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B751B846-0CDD-2E51-1C7C-E69E3BD40A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197667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E4815962-5331-FE8A-386B-C9551F1FFA2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98303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0C35C54E-FC29-9651-E1C0-7B27D686E60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198938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203CF024-D2A2-A04A-53A6-B483E06DB24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699574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562E4F16-6EC2-3DEC-17C1-83CDA5BFDEA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00210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CC2CF11-F8A9-2EA4-60F0-634B893401C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700845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70EA5AF5-2F4F-BEF8-B39A-0E337CB367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201481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69909721-D6CC-F041-3D9B-6B891CB2143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702116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95AAE725-40CF-7097-EE24-F6B69DC08B5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202752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9A655F4C-57F9-FAA4-E03D-19A79307CCB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703387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E1BC5316-A47B-380D-5D7A-27CDB8BAF1A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204023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E114D425-8CA2-FD1B-A05B-6C95024E5E2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704655" y="342900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19" name="Text Placeholder 4">
            <a:extLst>
              <a:ext uri="{FF2B5EF4-FFF2-40B4-BE49-F238E27FC236}">
                <a16:creationId xmlns:a16="http://schemas.microsoft.com/office/drawing/2014/main" id="{0E1A3F75-2E70-0F70-ACF6-DD2192525B6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92583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0" name="Text Placeholder 4">
            <a:extLst>
              <a:ext uri="{FF2B5EF4-FFF2-40B4-BE49-F238E27FC236}">
                <a16:creationId xmlns:a16="http://schemas.microsoft.com/office/drawing/2014/main" id="{24341FA8-1D06-44EF-1228-03D5965E826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93219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1" name="Text Placeholder 4">
            <a:extLst>
              <a:ext uri="{FF2B5EF4-FFF2-40B4-BE49-F238E27FC236}">
                <a16:creationId xmlns:a16="http://schemas.microsoft.com/office/drawing/2014/main" id="{55449987-B44E-88BD-CB66-13B9740A742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193854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2" name="Text Placeholder 4">
            <a:extLst>
              <a:ext uri="{FF2B5EF4-FFF2-40B4-BE49-F238E27FC236}">
                <a16:creationId xmlns:a16="http://schemas.microsoft.com/office/drawing/2014/main" id="{89A61400-3742-D53D-BDC4-D96AA71EB97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94490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3" name="Text Placeholder 4">
            <a:extLst>
              <a:ext uri="{FF2B5EF4-FFF2-40B4-BE49-F238E27FC236}">
                <a16:creationId xmlns:a16="http://schemas.microsoft.com/office/drawing/2014/main" id="{30B15067-8E45-79A9-3AB4-710E9DCB3D2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195125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A160165C-EEFA-9BA7-5B4F-4D7A15F03CB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695761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5" name="Text Placeholder 4">
            <a:extLst>
              <a:ext uri="{FF2B5EF4-FFF2-40B4-BE49-F238E27FC236}">
                <a16:creationId xmlns:a16="http://schemas.microsoft.com/office/drawing/2014/main" id="{33C7DC14-B883-0FF9-891B-6EFB57353E4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196396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6" name="Text Placeholder 4">
            <a:extLst>
              <a:ext uri="{FF2B5EF4-FFF2-40B4-BE49-F238E27FC236}">
                <a16:creationId xmlns:a16="http://schemas.microsoft.com/office/drawing/2014/main" id="{E20A3CD0-DACB-9903-5ADD-8F4D67AAD55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697032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7" name="Text Placeholder 4">
            <a:extLst>
              <a:ext uri="{FF2B5EF4-FFF2-40B4-BE49-F238E27FC236}">
                <a16:creationId xmlns:a16="http://schemas.microsoft.com/office/drawing/2014/main" id="{E396E8DE-4CBA-27F1-922B-7FD06AB7CC1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197667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8" name="Text Placeholder 4">
            <a:extLst>
              <a:ext uri="{FF2B5EF4-FFF2-40B4-BE49-F238E27FC236}">
                <a16:creationId xmlns:a16="http://schemas.microsoft.com/office/drawing/2014/main" id="{86CFA94C-BD38-B417-C173-5A84BAFA3EF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698303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29" name="Text Placeholder 4">
            <a:extLst>
              <a:ext uri="{FF2B5EF4-FFF2-40B4-BE49-F238E27FC236}">
                <a16:creationId xmlns:a16="http://schemas.microsoft.com/office/drawing/2014/main" id="{1E3828B4-F696-622A-8A74-6DDAA68D94E9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198938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0" name="Text Placeholder 4">
            <a:extLst>
              <a:ext uri="{FF2B5EF4-FFF2-40B4-BE49-F238E27FC236}">
                <a16:creationId xmlns:a16="http://schemas.microsoft.com/office/drawing/2014/main" id="{3071D5B7-0E74-2D00-85C4-A82A0AF6D84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699574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1" name="Text Placeholder 4">
            <a:extLst>
              <a:ext uri="{FF2B5EF4-FFF2-40B4-BE49-F238E27FC236}">
                <a16:creationId xmlns:a16="http://schemas.microsoft.com/office/drawing/2014/main" id="{BDC6BAF9-B475-E533-D6FD-566EB06132B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00210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2" name="Text Placeholder 4">
            <a:extLst>
              <a:ext uri="{FF2B5EF4-FFF2-40B4-BE49-F238E27FC236}">
                <a16:creationId xmlns:a16="http://schemas.microsoft.com/office/drawing/2014/main" id="{A31FEE68-650D-1893-E921-5907DE0BB3E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700845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3" name="Text Placeholder 4">
            <a:extLst>
              <a:ext uri="{FF2B5EF4-FFF2-40B4-BE49-F238E27FC236}">
                <a16:creationId xmlns:a16="http://schemas.microsoft.com/office/drawing/2014/main" id="{7FD85117-E866-9437-0611-DD637FA9015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201481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ABE07947-F1C7-34D3-BDD6-42413597EBB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702116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5" name="Text Placeholder 4">
            <a:extLst>
              <a:ext uri="{FF2B5EF4-FFF2-40B4-BE49-F238E27FC236}">
                <a16:creationId xmlns:a16="http://schemas.microsoft.com/office/drawing/2014/main" id="{DD250E49-FEE0-F0EE-EBB3-E81DAAB75C7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8202752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6" name="Text Placeholder 4">
            <a:extLst>
              <a:ext uri="{FF2B5EF4-FFF2-40B4-BE49-F238E27FC236}">
                <a16:creationId xmlns:a16="http://schemas.microsoft.com/office/drawing/2014/main" id="{DBBAB72A-EEA8-F720-8891-6582D41FB85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8703387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7" name="Text Placeholder 4">
            <a:extLst>
              <a:ext uri="{FF2B5EF4-FFF2-40B4-BE49-F238E27FC236}">
                <a16:creationId xmlns:a16="http://schemas.microsoft.com/office/drawing/2014/main" id="{3333BAE0-F312-56A2-3755-F000B03C8C1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9204023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8" name="Text Placeholder 4">
            <a:extLst>
              <a:ext uri="{FF2B5EF4-FFF2-40B4-BE49-F238E27FC236}">
                <a16:creationId xmlns:a16="http://schemas.microsoft.com/office/drawing/2014/main" id="{E2520068-13B0-9FAE-00B2-3F6482FA8F7E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704655" y="3934050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39" name="Text Placeholder 4">
            <a:extLst>
              <a:ext uri="{FF2B5EF4-FFF2-40B4-BE49-F238E27FC236}">
                <a16:creationId xmlns:a16="http://schemas.microsoft.com/office/drawing/2014/main" id="{6BC31824-1B7D-17E9-3DD5-02B240FB89B4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92583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0" name="Text Placeholder 4">
            <a:extLst>
              <a:ext uri="{FF2B5EF4-FFF2-40B4-BE49-F238E27FC236}">
                <a16:creationId xmlns:a16="http://schemas.microsoft.com/office/drawing/2014/main" id="{5B753E74-8E29-81A3-39E0-1E911D902407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93219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1" name="Text Placeholder 4">
            <a:extLst>
              <a:ext uri="{FF2B5EF4-FFF2-40B4-BE49-F238E27FC236}">
                <a16:creationId xmlns:a16="http://schemas.microsoft.com/office/drawing/2014/main" id="{939A6672-8442-9E81-9FDC-62D64079F88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1193854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2" name="Text Placeholder 4">
            <a:extLst>
              <a:ext uri="{FF2B5EF4-FFF2-40B4-BE49-F238E27FC236}">
                <a16:creationId xmlns:a16="http://schemas.microsoft.com/office/drawing/2014/main" id="{3BD8E7FB-364D-5EF2-717F-9DF4865064B0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1694490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3" name="Text Placeholder 4">
            <a:extLst>
              <a:ext uri="{FF2B5EF4-FFF2-40B4-BE49-F238E27FC236}">
                <a16:creationId xmlns:a16="http://schemas.microsoft.com/office/drawing/2014/main" id="{A18C14B9-68E9-5C36-2401-F25A43F8CDC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195125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4" name="Text Placeholder 4">
            <a:extLst>
              <a:ext uri="{FF2B5EF4-FFF2-40B4-BE49-F238E27FC236}">
                <a16:creationId xmlns:a16="http://schemas.microsoft.com/office/drawing/2014/main" id="{86D3A77E-C01B-90B5-31BE-4E0B5B384B04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695761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5" name="Text Placeholder 4">
            <a:extLst>
              <a:ext uri="{FF2B5EF4-FFF2-40B4-BE49-F238E27FC236}">
                <a16:creationId xmlns:a16="http://schemas.microsoft.com/office/drawing/2014/main" id="{234CF932-4B8A-E66C-48C6-35A76998E4E0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196396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6" name="Text Placeholder 4">
            <a:extLst>
              <a:ext uri="{FF2B5EF4-FFF2-40B4-BE49-F238E27FC236}">
                <a16:creationId xmlns:a16="http://schemas.microsoft.com/office/drawing/2014/main" id="{AF197324-8250-D5E7-74BD-E277611B4D50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697032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7" name="Text Placeholder 4">
            <a:extLst>
              <a:ext uri="{FF2B5EF4-FFF2-40B4-BE49-F238E27FC236}">
                <a16:creationId xmlns:a16="http://schemas.microsoft.com/office/drawing/2014/main" id="{B4EB1796-D613-F85F-A6FF-49CEB48F4804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97667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8" name="Text Placeholder 4">
            <a:extLst>
              <a:ext uri="{FF2B5EF4-FFF2-40B4-BE49-F238E27FC236}">
                <a16:creationId xmlns:a16="http://schemas.microsoft.com/office/drawing/2014/main" id="{EF6E941F-21FB-0528-9ED4-4DCBC5672FE5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98303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9" name="Text Placeholder 4">
            <a:extLst>
              <a:ext uri="{FF2B5EF4-FFF2-40B4-BE49-F238E27FC236}">
                <a16:creationId xmlns:a16="http://schemas.microsoft.com/office/drawing/2014/main" id="{29E5E8ED-000E-DFE7-2167-50F8BA342731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5198938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0" name="Text Placeholder 4">
            <a:extLst>
              <a:ext uri="{FF2B5EF4-FFF2-40B4-BE49-F238E27FC236}">
                <a16:creationId xmlns:a16="http://schemas.microsoft.com/office/drawing/2014/main" id="{AEBBD294-47C6-948B-07D0-B2F60DC1C93A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699574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1" name="Text Placeholder 4">
            <a:extLst>
              <a:ext uri="{FF2B5EF4-FFF2-40B4-BE49-F238E27FC236}">
                <a16:creationId xmlns:a16="http://schemas.microsoft.com/office/drawing/2014/main" id="{BC5B4B22-2E02-56FA-BD62-E6B228FFA504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00210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2" name="Text Placeholder 4">
            <a:extLst>
              <a:ext uri="{FF2B5EF4-FFF2-40B4-BE49-F238E27FC236}">
                <a16:creationId xmlns:a16="http://schemas.microsoft.com/office/drawing/2014/main" id="{43BFC31A-8688-68BA-AAEB-C047F510C522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6700845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3" name="Text Placeholder 4">
            <a:extLst>
              <a:ext uri="{FF2B5EF4-FFF2-40B4-BE49-F238E27FC236}">
                <a16:creationId xmlns:a16="http://schemas.microsoft.com/office/drawing/2014/main" id="{2E273DF2-8CC3-0DB7-28C4-3A4883CF8977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7201481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4" name="Text Placeholder 4">
            <a:extLst>
              <a:ext uri="{FF2B5EF4-FFF2-40B4-BE49-F238E27FC236}">
                <a16:creationId xmlns:a16="http://schemas.microsoft.com/office/drawing/2014/main" id="{BC83388D-C023-16E4-B6C7-E74AADB4CE1A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7702116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5" name="Text Placeholder 4">
            <a:extLst>
              <a:ext uri="{FF2B5EF4-FFF2-40B4-BE49-F238E27FC236}">
                <a16:creationId xmlns:a16="http://schemas.microsoft.com/office/drawing/2014/main" id="{FDA6640B-4E2D-668F-059D-F49A9872985A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202752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6" name="Text Placeholder 4">
            <a:extLst>
              <a:ext uri="{FF2B5EF4-FFF2-40B4-BE49-F238E27FC236}">
                <a16:creationId xmlns:a16="http://schemas.microsoft.com/office/drawing/2014/main" id="{D7338CF2-9748-44CB-5EEB-A1819675FE38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703387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7" name="Text Placeholder 4">
            <a:extLst>
              <a:ext uri="{FF2B5EF4-FFF2-40B4-BE49-F238E27FC236}">
                <a16:creationId xmlns:a16="http://schemas.microsoft.com/office/drawing/2014/main" id="{47A41D57-C005-F450-18EF-015F1FCE0767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9204023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8" name="Text Placeholder 4">
            <a:extLst>
              <a:ext uri="{FF2B5EF4-FFF2-40B4-BE49-F238E27FC236}">
                <a16:creationId xmlns:a16="http://schemas.microsoft.com/office/drawing/2014/main" id="{33A7F23D-EDEC-2C70-A6EE-45DA09362147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9704655" y="443909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59" name="Text Placeholder 4">
            <a:extLst>
              <a:ext uri="{FF2B5EF4-FFF2-40B4-BE49-F238E27FC236}">
                <a16:creationId xmlns:a16="http://schemas.microsoft.com/office/drawing/2014/main" id="{6F1931FD-2389-933F-654F-6236ABF13F39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92583" y="4944149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0" name="Text Placeholder 4">
            <a:extLst>
              <a:ext uri="{FF2B5EF4-FFF2-40B4-BE49-F238E27FC236}">
                <a16:creationId xmlns:a16="http://schemas.microsoft.com/office/drawing/2014/main" id="{5181D65E-814B-6DC5-8F30-4FFC00E78941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693219" y="4944149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1" name="Text Placeholder 4">
            <a:extLst>
              <a:ext uri="{FF2B5EF4-FFF2-40B4-BE49-F238E27FC236}">
                <a16:creationId xmlns:a16="http://schemas.microsoft.com/office/drawing/2014/main" id="{96CECD0D-63DC-A92A-80F6-8180CF8A1CB9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193854" y="4944149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2" name="Text Placeholder 4">
            <a:extLst>
              <a:ext uri="{FF2B5EF4-FFF2-40B4-BE49-F238E27FC236}">
                <a16:creationId xmlns:a16="http://schemas.microsoft.com/office/drawing/2014/main" id="{60CD9A04-79C5-D9BA-AF9E-933B440E243D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694490" y="4944149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3" name="Text Placeholder 4">
            <a:extLst>
              <a:ext uri="{FF2B5EF4-FFF2-40B4-BE49-F238E27FC236}">
                <a16:creationId xmlns:a16="http://schemas.microsoft.com/office/drawing/2014/main" id="{01622E4C-0A76-B3FC-45A7-B5D1F6A4092E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2195125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4" name="Text Placeholder 4">
            <a:extLst>
              <a:ext uri="{FF2B5EF4-FFF2-40B4-BE49-F238E27FC236}">
                <a16:creationId xmlns:a16="http://schemas.microsoft.com/office/drawing/2014/main" id="{C6E2379C-F489-6A74-D607-9824636970E2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2695761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5" name="Text Placeholder 4">
            <a:extLst>
              <a:ext uri="{FF2B5EF4-FFF2-40B4-BE49-F238E27FC236}">
                <a16:creationId xmlns:a16="http://schemas.microsoft.com/office/drawing/2014/main" id="{E9087B43-CE16-6DDE-A558-78CCBD14B525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3196396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6" name="Text Placeholder 4">
            <a:extLst>
              <a:ext uri="{FF2B5EF4-FFF2-40B4-BE49-F238E27FC236}">
                <a16:creationId xmlns:a16="http://schemas.microsoft.com/office/drawing/2014/main" id="{3306BE3F-07AC-4861-2C62-68F347C3DE1A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3697032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7" name="Text Placeholder 4">
            <a:extLst>
              <a:ext uri="{FF2B5EF4-FFF2-40B4-BE49-F238E27FC236}">
                <a16:creationId xmlns:a16="http://schemas.microsoft.com/office/drawing/2014/main" id="{A278F3C3-2707-859D-A090-C1566A4CF34B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4197667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8" name="Text Placeholder 4">
            <a:extLst>
              <a:ext uri="{FF2B5EF4-FFF2-40B4-BE49-F238E27FC236}">
                <a16:creationId xmlns:a16="http://schemas.microsoft.com/office/drawing/2014/main" id="{178D3708-2506-B0CB-0AA6-8B2E86E73468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4698303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69" name="Text Placeholder 4">
            <a:extLst>
              <a:ext uri="{FF2B5EF4-FFF2-40B4-BE49-F238E27FC236}">
                <a16:creationId xmlns:a16="http://schemas.microsoft.com/office/drawing/2014/main" id="{7F8317DD-B4E4-7C36-116C-CF78FD655264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5198938" y="4944149"/>
            <a:ext cx="499520" cy="499547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0" name="Text Placeholder 4">
            <a:extLst>
              <a:ext uri="{FF2B5EF4-FFF2-40B4-BE49-F238E27FC236}">
                <a16:creationId xmlns:a16="http://schemas.microsoft.com/office/drawing/2014/main" id="{F2950DD3-08F7-9867-7EA8-71604A4814F1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5699574" y="4944149"/>
            <a:ext cx="499520" cy="499547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1" name="Text Placeholder 4">
            <a:extLst>
              <a:ext uri="{FF2B5EF4-FFF2-40B4-BE49-F238E27FC236}">
                <a16:creationId xmlns:a16="http://schemas.microsoft.com/office/drawing/2014/main" id="{80CC9CB5-3D2A-AD2F-049B-F01D090EEC8F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200210" y="4944149"/>
            <a:ext cx="499520" cy="499547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2" name="Text Placeholder 4">
            <a:extLst>
              <a:ext uri="{FF2B5EF4-FFF2-40B4-BE49-F238E27FC236}">
                <a16:creationId xmlns:a16="http://schemas.microsoft.com/office/drawing/2014/main" id="{1D02B040-84BD-F20F-8B2E-CA6397D96F6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700845" y="4944149"/>
            <a:ext cx="499520" cy="499547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3" name="Text Placeholder 4">
            <a:extLst>
              <a:ext uri="{FF2B5EF4-FFF2-40B4-BE49-F238E27FC236}">
                <a16:creationId xmlns:a16="http://schemas.microsoft.com/office/drawing/2014/main" id="{E7CA6172-FEF3-234A-0CD0-FF4C63680E5C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7201481" y="4944149"/>
            <a:ext cx="499520" cy="499547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4" name="Text Placeholder 4">
            <a:extLst>
              <a:ext uri="{FF2B5EF4-FFF2-40B4-BE49-F238E27FC236}">
                <a16:creationId xmlns:a16="http://schemas.microsoft.com/office/drawing/2014/main" id="{CC58F7E6-1BC9-2876-9812-2293F0811B74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7702116" y="494414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5" name="Text Placeholder 4">
            <a:extLst>
              <a:ext uri="{FF2B5EF4-FFF2-40B4-BE49-F238E27FC236}">
                <a16:creationId xmlns:a16="http://schemas.microsoft.com/office/drawing/2014/main" id="{34818E20-B12F-AE85-219E-FE9D69A39B9E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8202752" y="494414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6" name="Text Placeholder 4">
            <a:extLst>
              <a:ext uri="{FF2B5EF4-FFF2-40B4-BE49-F238E27FC236}">
                <a16:creationId xmlns:a16="http://schemas.microsoft.com/office/drawing/2014/main" id="{2266D572-7373-3C87-F72C-74F16D30AE54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703387" y="494414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7" name="Text Placeholder 4">
            <a:extLst>
              <a:ext uri="{FF2B5EF4-FFF2-40B4-BE49-F238E27FC236}">
                <a16:creationId xmlns:a16="http://schemas.microsoft.com/office/drawing/2014/main" id="{4A0C2745-C289-BFBB-F68D-047C03B908E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9204023" y="494414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8" name="Text Placeholder 4">
            <a:extLst>
              <a:ext uri="{FF2B5EF4-FFF2-40B4-BE49-F238E27FC236}">
                <a16:creationId xmlns:a16="http://schemas.microsoft.com/office/drawing/2014/main" id="{63EC01F6-E907-EBFC-3FE2-E88134459782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704655" y="4944149"/>
            <a:ext cx="499520" cy="499547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79" name="Text Placeholder 4">
            <a:extLst>
              <a:ext uri="{FF2B5EF4-FFF2-40B4-BE49-F238E27FC236}">
                <a16:creationId xmlns:a16="http://schemas.microsoft.com/office/drawing/2014/main" id="{EA659694-0914-7E60-763C-6AD084D6425E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192583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0" name="Text Placeholder 4">
            <a:extLst>
              <a:ext uri="{FF2B5EF4-FFF2-40B4-BE49-F238E27FC236}">
                <a16:creationId xmlns:a16="http://schemas.microsoft.com/office/drawing/2014/main" id="{4A6854AA-34FF-38C5-6FFE-A5199EE157C9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693219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1" name="Text Placeholder 4">
            <a:extLst>
              <a:ext uri="{FF2B5EF4-FFF2-40B4-BE49-F238E27FC236}">
                <a16:creationId xmlns:a16="http://schemas.microsoft.com/office/drawing/2014/main" id="{703DE434-94BF-C5B3-F527-A2CE5F7CFC78}"/>
              </a:ext>
            </a:extLst>
          </p:cNvPr>
          <p:cNvSpPr>
            <a:spLocks noGrp="1"/>
          </p:cNvSpPr>
          <p:nvPr>
            <p:ph type="body" sz="quarter" idx="110" hasCustomPrompt="1"/>
          </p:nvPr>
        </p:nvSpPr>
        <p:spPr>
          <a:xfrm>
            <a:off x="1193854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2" name="Text Placeholder 4">
            <a:extLst>
              <a:ext uri="{FF2B5EF4-FFF2-40B4-BE49-F238E27FC236}">
                <a16:creationId xmlns:a16="http://schemas.microsoft.com/office/drawing/2014/main" id="{125DD4E5-3A54-088E-BBE2-5D28E4DD5754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1694490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3" name="Text Placeholder 4">
            <a:extLst>
              <a:ext uri="{FF2B5EF4-FFF2-40B4-BE49-F238E27FC236}">
                <a16:creationId xmlns:a16="http://schemas.microsoft.com/office/drawing/2014/main" id="{6F26BBCF-614D-164C-7C22-9229F1E496A8}"/>
              </a:ext>
            </a:extLst>
          </p:cNvPr>
          <p:cNvSpPr>
            <a:spLocks noGrp="1"/>
          </p:cNvSpPr>
          <p:nvPr>
            <p:ph type="body" sz="quarter" idx="112" hasCustomPrompt="1"/>
          </p:nvPr>
        </p:nvSpPr>
        <p:spPr>
          <a:xfrm>
            <a:off x="2195125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4" name="Text Placeholder 4">
            <a:extLst>
              <a:ext uri="{FF2B5EF4-FFF2-40B4-BE49-F238E27FC236}">
                <a16:creationId xmlns:a16="http://schemas.microsoft.com/office/drawing/2014/main" id="{E14CECFE-09DE-4358-69F8-98B86FFA4B25}"/>
              </a:ext>
            </a:extLst>
          </p:cNvPr>
          <p:cNvSpPr>
            <a:spLocks noGrp="1"/>
          </p:cNvSpPr>
          <p:nvPr>
            <p:ph type="body" sz="quarter" idx="113" hasCustomPrompt="1"/>
          </p:nvPr>
        </p:nvSpPr>
        <p:spPr>
          <a:xfrm>
            <a:off x="2695761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5" name="Text Placeholder 4">
            <a:extLst>
              <a:ext uri="{FF2B5EF4-FFF2-40B4-BE49-F238E27FC236}">
                <a16:creationId xmlns:a16="http://schemas.microsoft.com/office/drawing/2014/main" id="{3C65F5DC-2AE7-4590-3FF3-96E3A0D889D9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3196396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6" name="Text Placeholder 4">
            <a:extLst>
              <a:ext uri="{FF2B5EF4-FFF2-40B4-BE49-F238E27FC236}">
                <a16:creationId xmlns:a16="http://schemas.microsoft.com/office/drawing/2014/main" id="{6DF691F0-F5DC-1BB6-E1F9-6EC31B39DFB4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3697032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7" name="Text Placeholder 4">
            <a:extLst>
              <a:ext uri="{FF2B5EF4-FFF2-40B4-BE49-F238E27FC236}">
                <a16:creationId xmlns:a16="http://schemas.microsoft.com/office/drawing/2014/main" id="{FA6B0260-8767-F5D2-8D85-A1D2C84F8C3E}"/>
              </a:ext>
            </a:extLst>
          </p:cNvPr>
          <p:cNvSpPr>
            <a:spLocks noGrp="1"/>
          </p:cNvSpPr>
          <p:nvPr>
            <p:ph type="body" sz="quarter" idx="116" hasCustomPrompt="1"/>
          </p:nvPr>
        </p:nvSpPr>
        <p:spPr>
          <a:xfrm>
            <a:off x="4197667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8" name="Text Placeholder 4">
            <a:extLst>
              <a:ext uri="{FF2B5EF4-FFF2-40B4-BE49-F238E27FC236}">
                <a16:creationId xmlns:a16="http://schemas.microsoft.com/office/drawing/2014/main" id="{D4A97AFB-340B-013D-6BE6-B0323C8ADCF2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4698303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9" name="Text Placeholder 4">
            <a:extLst>
              <a:ext uri="{FF2B5EF4-FFF2-40B4-BE49-F238E27FC236}">
                <a16:creationId xmlns:a16="http://schemas.microsoft.com/office/drawing/2014/main" id="{FAEBDCFA-CFA0-A9DE-9A85-9F4E08484BB7}"/>
              </a:ext>
            </a:extLst>
          </p:cNvPr>
          <p:cNvSpPr>
            <a:spLocks noGrp="1"/>
          </p:cNvSpPr>
          <p:nvPr>
            <p:ph type="body" sz="quarter" idx="118" hasCustomPrompt="1"/>
          </p:nvPr>
        </p:nvSpPr>
        <p:spPr>
          <a:xfrm>
            <a:off x="5198938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0" name="Text Placeholder 4">
            <a:extLst>
              <a:ext uri="{FF2B5EF4-FFF2-40B4-BE49-F238E27FC236}">
                <a16:creationId xmlns:a16="http://schemas.microsoft.com/office/drawing/2014/main" id="{1D9FB26D-48D8-56EF-CF37-18DB10DD4AF4}"/>
              </a:ext>
            </a:extLst>
          </p:cNvPr>
          <p:cNvSpPr>
            <a:spLocks noGrp="1"/>
          </p:cNvSpPr>
          <p:nvPr>
            <p:ph type="body" sz="quarter" idx="119" hasCustomPrompt="1"/>
          </p:nvPr>
        </p:nvSpPr>
        <p:spPr>
          <a:xfrm>
            <a:off x="5699574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1" name="Text Placeholder 4">
            <a:extLst>
              <a:ext uri="{FF2B5EF4-FFF2-40B4-BE49-F238E27FC236}">
                <a16:creationId xmlns:a16="http://schemas.microsoft.com/office/drawing/2014/main" id="{B21CE896-503F-E57C-DEE7-FDC58690B5AE}"/>
              </a:ext>
            </a:extLst>
          </p:cNvPr>
          <p:cNvSpPr>
            <a:spLocks noGrp="1"/>
          </p:cNvSpPr>
          <p:nvPr>
            <p:ph type="body" sz="quarter" idx="120" hasCustomPrompt="1"/>
          </p:nvPr>
        </p:nvSpPr>
        <p:spPr>
          <a:xfrm>
            <a:off x="6200210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2" name="Text Placeholder 4">
            <a:extLst>
              <a:ext uri="{FF2B5EF4-FFF2-40B4-BE49-F238E27FC236}">
                <a16:creationId xmlns:a16="http://schemas.microsoft.com/office/drawing/2014/main" id="{2F1BFC64-7F32-B267-6A44-1A1166250119}"/>
              </a:ext>
            </a:extLst>
          </p:cNvPr>
          <p:cNvSpPr>
            <a:spLocks noGrp="1"/>
          </p:cNvSpPr>
          <p:nvPr>
            <p:ph type="body" sz="quarter" idx="121" hasCustomPrompt="1"/>
          </p:nvPr>
        </p:nvSpPr>
        <p:spPr>
          <a:xfrm>
            <a:off x="6700845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3" name="Text Placeholder 4">
            <a:extLst>
              <a:ext uri="{FF2B5EF4-FFF2-40B4-BE49-F238E27FC236}">
                <a16:creationId xmlns:a16="http://schemas.microsoft.com/office/drawing/2014/main" id="{4B547A9A-18EA-C9E5-A10D-AD97194646EE}"/>
              </a:ext>
            </a:extLst>
          </p:cNvPr>
          <p:cNvSpPr>
            <a:spLocks noGrp="1"/>
          </p:cNvSpPr>
          <p:nvPr>
            <p:ph type="body" sz="quarter" idx="122" hasCustomPrompt="1"/>
          </p:nvPr>
        </p:nvSpPr>
        <p:spPr>
          <a:xfrm>
            <a:off x="7201481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4" name="Text Placeholder 4">
            <a:extLst>
              <a:ext uri="{FF2B5EF4-FFF2-40B4-BE49-F238E27FC236}">
                <a16:creationId xmlns:a16="http://schemas.microsoft.com/office/drawing/2014/main" id="{4CEC5281-1425-D43D-7279-D83802188B4F}"/>
              </a:ext>
            </a:extLst>
          </p:cNvPr>
          <p:cNvSpPr>
            <a:spLocks noGrp="1"/>
          </p:cNvSpPr>
          <p:nvPr>
            <p:ph type="body" sz="quarter" idx="123" hasCustomPrompt="1"/>
          </p:nvPr>
        </p:nvSpPr>
        <p:spPr>
          <a:xfrm>
            <a:off x="7702116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5" name="Text Placeholder 4">
            <a:extLst>
              <a:ext uri="{FF2B5EF4-FFF2-40B4-BE49-F238E27FC236}">
                <a16:creationId xmlns:a16="http://schemas.microsoft.com/office/drawing/2014/main" id="{8651CEE6-FF21-17AD-01F9-51DF1682C642}"/>
              </a:ext>
            </a:extLst>
          </p:cNvPr>
          <p:cNvSpPr>
            <a:spLocks noGrp="1"/>
          </p:cNvSpPr>
          <p:nvPr>
            <p:ph type="body" sz="quarter" idx="124" hasCustomPrompt="1"/>
          </p:nvPr>
        </p:nvSpPr>
        <p:spPr>
          <a:xfrm>
            <a:off x="8202752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6" name="Text Placeholder 4">
            <a:extLst>
              <a:ext uri="{FF2B5EF4-FFF2-40B4-BE49-F238E27FC236}">
                <a16:creationId xmlns:a16="http://schemas.microsoft.com/office/drawing/2014/main" id="{9DB8DB5E-300E-2D5D-B219-CBF8ADDB8D82}"/>
              </a:ext>
            </a:extLst>
          </p:cNvPr>
          <p:cNvSpPr>
            <a:spLocks noGrp="1"/>
          </p:cNvSpPr>
          <p:nvPr>
            <p:ph type="body" sz="quarter" idx="125" hasCustomPrompt="1"/>
          </p:nvPr>
        </p:nvSpPr>
        <p:spPr>
          <a:xfrm>
            <a:off x="8703387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7" name="Text Placeholder 4">
            <a:extLst>
              <a:ext uri="{FF2B5EF4-FFF2-40B4-BE49-F238E27FC236}">
                <a16:creationId xmlns:a16="http://schemas.microsoft.com/office/drawing/2014/main" id="{4F37978D-8BB5-F511-9E99-7D7AEBCAFF96}"/>
              </a:ext>
            </a:extLst>
          </p:cNvPr>
          <p:cNvSpPr>
            <a:spLocks noGrp="1"/>
          </p:cNvSpPr>
          <p:nvPr>
            <p:ph type="body" sz="quarter" idx="126" hasCustomPrompt="1"/>
          </p:nvPr>
        </p:nvSpPr>
        <p:spPr>
          <a:xfrm>
            <a:off x="9204023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98" name="Text Placeholder 4">
            <a:extLst>
              <a:ext uri="{FF2B5EF4-FFF2-40B4-BE49-F238E27FC236}">
                <a16:creationId xmlns:a16="http://schemas.microsoft.com/office/drawing/2014/main" id="{F4E77403-3A83-8FAB-0E5C-DC0FBEA56612}"/>
              </a:ext>
            </a:extLst>
          </p:cNvPr>
          <p:cNvSpPr>
            <a:spLocks noGrp="1"/>
          </p:cNvSpPr>
          <p:nvPr>
            <p:ph type="body" sz="quarter" idx="127" hasCustomPrompt="1"/>
          </p:nvPr>
        </p:nvSpPr>
        <p:spPr>
          <a:xfrm>
            <a:off x="9704655" y="5449198"/>
            <a:ext cx="499520" cy="49954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01" name="Text Placeholder 14">
            <a:extLst>
              <a:ext uri="{FF2B5EF4-FFF2-40B4-BE49-F238E27FC236}">
                <a16:creationId xmlns:a16="http://schemas.microsoft.com/office/drawing/2014/main" id="{133BBCD3-FE88-12E4-1364-44341415BEA9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6115770" y="982574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4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202" name="Text Placeholder 14">
            <a:extLst>
              <a:ext uri="{FF2B5EF4-FFF2-40B4-BE49-F238E27FC236}">
                <a16:creationId xmlns:a16="http://schemas.microsoft.com/office/drawing/2014/main" id="{DD0A5B79-672F-5C3D-51BB-37CCA45170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15770" y="1314920"/>
            <a:ext cx="1166903" cy="386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203" name="Text Placeholder 4">
            <a:extLst>
              <a:ext uri="{FF2B5EF4-FFF2-40B4-BE49-F238E27FC236}">
                <a16:creationId xmlns:a16="http://schemas.microsoft.com/office/drawing/2014/main" id="{AA090E2F-9D81-346E-3CAD-56BD4F1257B4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7667936" y="991757"/>
            <a:ext cx="183942" cy="183952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04" name="Text Placeholder 14">
            <a:extLst>
              <a:ext uri="{FF2B5EF4-FFF2-40B4-BE49-F238E27FC236}">
                <a16:creationId xmlns:a16="http://schemas.microsoft.com/office/drawing/2014/main" id="{A51AE00D-9FED-B36C-7B51-27B2F54A9E44}"/>
              </a:ext>
            </a:extLst>
          </p:cNvPr>
          <p:cNvSpPr>
            <a:spLocks noGrp="1"/>
          </p:cNvSpPr>
          <p:nvPr>
            <p:ph type="body" sz="quarter" idx="130" hasCustomPrompt="1"/>
          </p:nvPr>
        </p:nvSpPr>
        <p:spPr>
          <a:xfrm>
            <a:off x="8472557" y="982574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7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205" name="Text Placeholder 14">
            <a:extLst>
              <a:ext uri="{FF2B5EF4-FFF2-40B4-BE49-F238E27FC236}">
                <a16:creationId xmlns:a16="http://schemas.microsoft.com/office/drawing/2014/main" id="{F2188B74-0D23-1924-42D7-E074B3F6A47D}"/>
              </a:ext>
            </a:extLst>
          </p:cNvPr>
          <p:cNvSpPr>
            <a:spLocks noGrp="1"/>
          </p:cNvSpPr>
          <p:nvPr>
            <p:ph type="body" sz="quarter" idx="131" hasCustomPrompt="1"/>
          </p:nvPr>
        </p:nvSpPr>
        <p:spPr>
          <a:xfrm>
            <a:off x="8472557" y="1314920"/>
            <a:ext cx="1166903" cy="386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206" name="Text Placeholder 4">
            <a:extLst>
              <a:ext uri="{FF2B5EF4-FFF2-40B4-BE49-F238E27FC236}">
                <a16:creationId xmlns:a16="http://schemas.microsoft.com/office/drawing/2014/main" id="{636F9D1D-1CF5-7448-C188-A12151698504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10020233" y="991757"/>
            <a:ext cx="183942" cy="183952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07" name="Text Placeholder 14">
            <a:extLst>
              <a:ext uri="{FF2B5EF4-FFF2-40B4-BE49-F238E27FC236}">
                <a16:creationId xmlns:a16="http://schemas.microsoft.com/office/drawing/2014/main" id="{03F3857E-7BE3-87A8-B938-1B16E0D507A2}"/>
              </a:ext>
            </a:extLst>
          </p:cNvPr>
          <p:cNvSpPr>
            <a:spLocks noGrp="1"/>
          </p:cNvSpPr>
          <p:nvPr>
            <p:ph type="body" sz="quarter" idx="133" hasCustomPrompt="1"/>
          </p:nvPr>
        </p:nvSpPr>
        <p:spPr>
          <a:xfrm>
            <a:off x="6115770" y="2060754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65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208" name="Text Placeholder 14">
            <a:extLst>
              <a:ext uri="{FF2B5EF4-FFF2-40B4-BE49-F238E27FC236}">
                <a16:creationId xmlns:a16="http://schemas.microsoft.com/office/drawing/2014/main" id="{7FC64143-BD84-6BAC-E0E8-7E6A8998F759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6115770" y="2393100"/>
            <a:ext cx="1166903" cy="386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слуги мобильной связи и интернета</a:t>
            </a:r>
          </a:p>
        </p:txBody>
      </p:sp>
      <p:sp>
        <p:nvSpPr>
          <p:cNvPr id="209" name="Text Placeholder 4">
            <a:extLst>
              <a:ext uri="{FF2B5EF4-FFF2-40B4-BE49-F238E27FC236}">
                <a16:creationId xmlns:a16="http://schemas.microsoft.com/office/drawing/2014/main" id="{4D6A4911-1383-E2A0-B6B9-AB261BCAE5D9}"/>
              </a:ext>
            </a:extLst>
          </p:cNvPr>
          <p:cNvSpPr>
            <a:spLocks noGrp="1"/>
          </p:cNvSpPr>
          <p:nvPr>
            <p:ph type="body" sz="quarter" idx="135" hasCustomPrompt="1"/>
          </p:nvPr>
        </p:nvSpPr>
        <p:spPr>
          <a:xfrm>
            <a:off x="7667936" y="2069937"/>
            <a:ext cx="183942" cy="183952"/>
          </a:xfrm>
          <a:prstGeom prst="ellipse">
            <a:avLst/>
          </a:prstGeom>
          <a:solidFill>
            <a:schemeClr val="bg2"/>
          </a:solidFill>
          <a:ln w="12700">
            <a:solidFill>
              <a:schemeClr val="tx1">
                <a:lumMod val="90000"/>
                <a:lumOff val="10000"/>
              </a:schemeClr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10" name="Text Placeholder 14">
            <a:extLst>
              <a:ext uri="{FF2B5EF4-FFF2-40B4-BE49-F238E27FC236}">
                <a16:creationId xmlns:a16="http://schemas.microsoft.com/office/drawing/2014/main" id="{B88FC079-B8B6-C846-EF01-2F0308F28209}"/>
              </a:ext>
            </a:extLst>
          </p:cNvPr>
          <p:cNvSpPr>
            <a:spLocks noGrp="1"/>
          </p:cNvSpPr>
          <p:nvPr>
            <p:ph type="body" sz="quarter" idx="136" hasCustomPrompt="1"/>
          </p:nvPr>
        </p:nvSpPr>
        <p:spPr>
          <a:xfrm>
            <a:off x="8472557" y="2060754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4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211" name="Text Placeholder 14">
            <a:extLst>
              <a:ext uri="{FF2B5EF4-FFF2-40B4-BE49-F238E27FC236}">
                <a16:creationId xmlns:a16="http://schemas.microsoft.com/office/drawing/2014/main" id="{A261A146-CF1E-6A0A-9297-D920AE98907C}"/>
              </a:ext>
            </a:extLst>
          </p:cNvPr>
          <p:cNvSpPr>
            <a:spLocks noGrp="1"/>
          </p:cNvSpPr>
          <p:nvPr>
            <p:ph type="body" sz="quarter" idx="137" hasCustomPrompt="1"/>
          </p:nvPr>
        </p:nvSpPr>
        <p:spPr>
          <a:xfrm>
            <a:off x="8472557" y="2393100"/>
            <a:ext cx="1166903" cy="3862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Услуги мобильной связи и интернета</a:t>
            </a:r>
          </a:p>
        </p:txBody>
      </p:sp>
      <p:sp>
        <p:nvSpPr>
          <p:cNvPr id="212" name="Text Placeholder 4">
            <a:extLst>
              <a:ext uri="{FF2B5EF4-FFF2-40B4-BE49-F238E27FC236}">
                <a16:creationId xmlns:a16="http://schemas.microsoft.com/office/drawing/2014/main" id="{B1E2E927-9DB7-6F5E-F1C8-91DE0AED53F9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10020233" y="2069937"/>
            <a:ext cx="183942" cy="183952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38CB5D45-40C8-8A18-A72E-DBFA749F2E40}"/>
              </a:ext>
            </a:extLst>
          </p:cNvPr>
          <p:cNvCxnSpPr/>
          <p:nvPr/>
        </p:nvCxnSpPr>
        <p:spPr>
          <a:xfrm>
            <a:off x="6096000" y="845405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165542BE-3EE4-8703-338D-C69D8ACE0026}"/>
              </a:ext>
            </a:extLst>
          </p:cNvPr>
          <p:cNvCxnSpPr/>
          <p:nvPr/>
        </p:nvCxnSpPr>
        <p:spPr>
          <a:xfrm>
            <a:off x="8461523" y="845405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DF86D281-E93C-0D66-C9BC-EECDDE9BDCC8}"/>
              </a:ext>
            </a:extLst>
          </p:cNvPr>
          <p:cNvCxnSpPr/>
          <p:nvPr/>
        </p:nvCxnSpPr>
        <p:spPr>
          <a:xfrm>
            <a:off x="8461523" y="193724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9626D09B-56AD-155E-98EF-E6CD75BB25F8}"/>
              </a:ext>
            </a:extLst>
          </p:cNvPr>
          <p:cNvCxnSpPr/>
          <p:nvPr/>
        </p:nvCxnSpPr>
        <p:spPr>
          <a:xfrm>
            <a:off x="6096000" y="193724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6494262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акциден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D958D2E5-BA92-E5C5-7CAB-4F3A82F20586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5300CE5-D6E0-49AF-3D29-36CF3E981AE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9BDE7EE-3E29-8A80-28A5-7D8164B0C4FC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5530F1BF-31EE-F607-028F-FD2DBF5C80D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983F310-3D4D-86B5-7447-0738AE221151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5503126" y="-74158"/>
            <a:ext cx="6777859" cy="700054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14" name="Text Placeholder 28">
            <a:extLst>
              <a:ext uri="{FF2B5EF4-FFF2-40B4-BE49-F238E27FC236}">
                <a16:creationId xmlns:a16="http://schemas.microsoft.com/office/drawing/2014/main" id="{5B9C3DDA-22FC-E403-D595-E88DC13191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0407" y="714342"/>
            <a:ext cx="4127718" cy="9470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6 млн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AFAD85ED-E3B0-77BE-5F1A-27A58C4D763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04025" y="1796588"/>
            <a:ext cx="4689800" cy="163241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новых пользователей присоединилось к нашим сервисами за 2022 год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5D039D7D-225E-3539-C31B-E7BA76AD31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84729" y="6526972"/>
            <a:ext cx="2334360" cy="206582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FontTx/>
              <a:buNone/>
              <a:defRPr sz="1317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Данные</a:t>
            </a:r>
            <a:endParaRPr lang="en-RU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52014F-D39D-CB66-FF31-2338DEDF8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CD756BA-76A7-3A0C-999D-C7F2F6AB268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2360313824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761669"/>
            <a:ext cx="5905593" cy="5815547"/>
          </a:xfrm>
          <a:prstGeom prst="rect">
            <a:avLst/>
          </a:prstGeom>
        </p:spPr>
        <p:txBody>
          <a:bodyPr anchor="t"/>
          <a:lstStyle>
            <a:lvl1pPr marL="0" indent="0" algn="ctr">
              <a:buFontTx/>
              <a:buNone/>
              <a:defRPr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marL="0" marR="0" lvl="0" indent="0" algn="ctr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52014F-D39D-CB66-FF31-2338DEDF8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CD756BA-76A7-3A0C-999D-C7F2F6AB268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2CF373DB-4E66-BB50-DC22-A00551363E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07" y="784080"/>
            <a:ext cx="4703418" cy="179663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RU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FE294E8-AA2C-765E-DFA3-D7540F9A4DE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B94C341-45FF-2557-437C-D0571A816179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3B0F0FFB-19A0-EC2E-E8C5-EDFA02AD7DAD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F1A61CC-5800-7780-CF6E-EE9FA6B2CFA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3D10494-6E86-5267-0F01-EFEAE8C28F2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" name="Text Placeholder 28">
            <a:extLst>
              <a:ext uri="{FF2B5EF4-FFF2-40B4-BE49-F238E27FC236}">
                <a16:creationId xmlns:a16="http://schemas.microsoft.com/office/drawing/2014/main" id="{1288E977-42F2-4C57-F638-51F4A0BA44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7567" y="2630363"/>
            <a:ext cx="4522459" cy="207815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МТС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123754218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ьцев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761669"/>
            <a:ext cx="5905593" cy="5815547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52014F-D39D-CB66-FF31-2338DEDF8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CD756BA-76A7-3A0C-999D-C7F2F6AB268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FE294E8-AA2C-765E-DFA3-D7540F9A4DE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B94C341-45FF-2557-437C-D0571A816179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3B0F0FFB-19A0-EC2E-E8C5-EDFA02AD7DAD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F1A61CC-5800-7780-CF6E-EE9FA6B2CFA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3D10494-6E86-5267-0F01-EFEAE8C28F2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" name="Title 25">
            <a:extLst>
              <a:ext uri="{FF2B5EF4-FFF2-40B4-BE49-F238E27FC236}">
                <a16:creationId xmlns:a16="http://schemas.microsoft.com/office/drawing/2014/main" id="{97D570E6-D5E0-0FAA-9572-4031E9A1A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5303778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Более 70% населения Москвы пользуются услугами МТС.</a:t>
            </a:r>
            <a:endParaRPr lang="en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45EE3D-6D7B-31F3-497E-93739435CDC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54871" y="875365"/>
            <a:ext cx="5587849" cy="558815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" name="Text Placeholder 28">
            <a:extLst>
              <a:ext uri="{FF2B5EF4-FFF2-40B4-BE49-F238E27FC236}">
                <a16:creationId xmlns:a16="http://schemas.microsoft.com/office/drawing/2014/main" id="{EE1CF02E-B1FD-81F4-5070-59F4C607D4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7567" y="2630363"/>
            <a:ext cx="4522459" cy="207815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90000"/>
              </a:lnSpc>
              <a:buFontTx/>
              <a:buNone/>
              <a:defRPr sz="776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МТС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0A5058A-6D6D-1B58-6FE8-67BCF5F050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0177" y="3027216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осква и Московская область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8D58B2F-E633-3701-D47A-A9E65D9462C4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1762343" y="2675575"/>
            <a:ext cx="183942" cy="183952"/>
          </a:xfrm>
          <a:prstGeom prst="ellipse">
            <a:avLst/>
          </a:prstGeom>
          <a:noFill/>
          <a:ln w="25400">
            <a:solidFill>
              <a:schemeClr val="tx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3AE944E-0901-159A-860B-5B9C66777A0A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4137170" y="2675575"/>
            <a:ext cx="183942" cy="183952"/>
          </a:xfrm>
          <a:prstGeom prst="ellipse">
            <a:avLst/>
          </a:prstGeom>
          <a:noFill/>
          <a:ln w="25400">
            <a:solidFill>
              <a:schemeClr val="tx1"/>
            </a:solidFill>
            <a:prstDash val="lgDash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806B9A4-FB9D-8E7A-EE87-232F051E1DF3}"/>
              </a:ext>
            </a:extLst>
          </p:cNvPr>
          <p:cNvCxnSpPr/>
          <p:nvPr/>
        </p:nvCxnSpPr>
        <p:spPr>
          <a:xfrm>
            <a:off x="190407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A20B53-856E-0442-6A43-75E28CBF9C4B}"/>
              </a:ext>
            </a:extLst>
          </p:cNvPr>
          <p:cNvCxnSpPr>
            <a:cxnSpLocks/>
          </p:cNvCxnSpPr>
          <p:nvPr/>
        </p:nvCxnSpPr>
        <p:spPr>
          <a:xfrm>
            <a:off x="2538827" y="2499560"/>
            <a:ext cx="177855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C635CB80-CEB1-FBAE-319F-0204642CC30C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1762343" y="3796155"/>
            <a:ext cx="183942" cy="183952"/>
          </a:xfrm>
          <a:prstGeom prst="ellipse">
            <a:avLst/>
          </a:prstGeom>
          <a:noFill/>
          <a:ln w="25400">
            <a:solidFill>
              <a:schemeClr val="tx1"/>
            </a:solidFill>
            <a:prstDash val="dash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806DBB8-7480-7C08-F1D2-4166117CBD1D}"/>
              </a:ext>
            </a:extLst>
          </p:cNvPr>
          <p:cNvSpPr>
            <a:spLocks noGrp="1"/>
          </p:cNvSpPr>
          <p:nvPr>
            <p:ph type="body" sz="quarter" idx="142" hasCustomPrompt="1"/>
          </p:nvPr>
        </p:nvSpPr>
        <p:spPr>
          <a:xfrm>
            <a:off x="4137170" y="3796155"/>
            <a:ext cx="183942" cy="183952"/>
          </a:xfrm>
          <a:prstGeom prst="ellipse">
            <a:avLst/>
          </a:prstGeom>
          <a:noFill/>
          <a:ln w="25400">
            <a:solidFill>
              <a:schemeClr val="bg1">
                <a:lumMod val="75000"/>
              </a:schemeClr>
            </a:solidFill>
            <a:prstDash val="solid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A147CD8-09A7-2126-E996-01EA84C38831}"/>
              </a:ext>
            </a:extLst>
          </p:cNvPr>
          <p:cNvCxnSpPr/>
          <p:nvPr/>
        </p:nvCxnSpPr>
        <p:spPr>
          <a:xfrm>
            <a:off x="190407" y="362014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5D64BC-148C-2425-DFAF-E0C32B0E49EA}"/>
              </a:ext>
            </a:extLst>
          </p:cNvPr>
          <p:cNvCxnSpPr>
            <a:cxnSpLocks/>
          </p:cNvCxnSpPr>
          <p:nvPr/>
        </p:nvCxnSpPr>
        <p:spPr>
          <a:xfrm>
            <a:off x="2538827" y="3620140"/>
            <a:ext cx="177855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B2F8E77-9789-C114-415F-B50B0C96A99A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8955311" y="717794"/>
            <a:ext cx="183942" cy="183952"/>
          </a:xfrm>
          <a:prstGeom prst="ellipse">
            <a:avLst/>
          </a:prstGeom>
          <a:solidFill>
            <a:schemeClr val="tx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8F8D0F1-7715-76B4-A06F-0A4AD68E384D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6478557" y="2156466"/>
            <a:ext cx="183942" cy="183952"/>
          </a:xfrm>
          <a:prstGeom prst="ellipse">
            <a:avLst/>
          </a:prstGeom>
          <a:solidFill>
            <a:schemeClr val="tx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E8A1EE7C-9CDF-93A8-2878-E5BD1C98A469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8362077" y="6353829"/>
            <a:ext cx="183942" cy="183952"/>
          </a:xfrm>
          <a:prstGeom prst="ellipse">
            <a:avLst/>
          </a:prstGeom>
          <a:solidFill>
            <a:schemeClr val="tx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9ECA1400-166D-FBE6-69FB-16229F3369BA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204025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50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FF222637-8C12-6F9C-E5B3-D3C6C57D3B70}"/>
              </a:ext>
            </a:extLst>
          </p:cNvPr>
          <p:cNvSpPr>
            <a:spLocks noGrp="1"/>
          </p:cNvSpPr>
          <p:nvPr>
            <p:ph type="body" sz="quarter" idx="147" hasCustomPrompt="1"/>
          </p:nvPr>
        </p:nvSpPr>
        <p:spPr>
          <a:xfrm>
            <a:off x="2544978" y="3027216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Регионы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7DC08D06-6AA4-53FE-5BD8-41AB083F5384}"/>
              </a:ext>
            </a:extLst>
          </p:cNvPr>
          <p:cNvSpPr>
            <a:spLocks noGrp="1"/>
          </p:cNvSpPr>
          <p:nvPr>
            <p:ph type="body" sz="quarter" idx="148" hasCustomPrompt="1"/>
          </p:nvPr>
        </p:nvSpPr>
        <p:spPr>
          <a:xfrm>
            <a:off x="2538827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5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B33470A9-9275-47BB-94F0-9F9B4842EB10}"/>
              </a:ext>
            </a:extLst>
          </p:cNvPr>
          <p:cNvSpPr>
            <a:spLocks noGrp="1"/>
          </p:cNvSpPr>
          <p:nvPr>
            <p:ph type="body" sz="quarter" idx="149" hasCustomPrompt="1"/>
          </p:nvPr>
        </p:nvSpPr>
        <p:spPr>
          <a:xfrm>
            <a:off x="210177" y="4149697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Ленобласть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0B9DA084-D737-A91F-3450-4AB252FDF571}"/>
              </a:ext>
            </a:extLst>
          </p:cNvPr>
          <p:cNvSpPr>
            <a:spLocks noGrp="1"/>
          </p:cNvSpPr>
          <p:nvPr>
            <p:ph type="body" sz="quarter" idx="150" hasCustomPrompt="1"/>
          </p:nvPr>
        </p:nvSpPr>
        <p:spPr>
          <a:xfrm>
            <a:off x="204025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50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7EE6216C-5A35-8A43-DFC9-9145D0DA46E5}"/>
              </a:ext>
            </a:extLst>
          </p:cNvPr>
          <p:cNvSpPr>
            <a:spLocks noGrp="1"/>
          </p:cNvSpPr>
          <p:nvPr>
            <p:ph type="body" sz="quarter" idx="151" hasCustomPrompt="1"/>
          </p:nvPr>
        </p:nvSpPr>
        <p:spPr>
          <a:xfrm>
            <a:off x="2544978" y="4149697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98CC07F6-6B6A-B5F5-0F3D-EB3F855B35F7}"/>
              </a:ext>
            </a:extLst>
          </p:cNvPr>
          <p:cNvSpPr>
            <a:spLocks noGrp="1"/>
          </p:cNvSpPr>
          <p:nvPr>
            <p:ph type="body" sz="quarter" idx="152" hasCustomPrompt="1"/>
          </p:nvPr>
        </p:nvSpPr>
        <p:spPr>
          <a:xfrm>
            <a:off x="2538827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5</a:t>
            </a:r>
            <a:r>
              <a:rPr lang="en-US" dirty="0"/>
              <a:t>%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669634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ьцевая диаграмм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761668"/>
            <a:ext cx="2946450" cy="29015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317"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52014F-D39D-CB66-FF31-2338DEDF8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CD756BA-76A7-3A0C-999D-C7F2F6AB268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FE294E8-AA2C-765E-DFA3-D7540F9A4DE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B94C341-45FF-2557-437C-D0571A816179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3B0F0FFB-19A0-EC2E-E8C5-EDFA02AD7DAD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F1A61CC-5800-7780-CF6E-EE9FA6B2CFA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3D10494-6E86-5267-0F01-EFEAE8C28F2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" name="Title 25">
            <a:extLst>
              <a:ext uri="{FF2B5EF4-FFF2-40B4-BE49-F238E27FC236}">
                <a16:creationId xmlns:a16="http://schemas.microsoft.com/office/drawing/2014/main" id="{97D570E6-D5E0-0FAA-9572-4031E9A1A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5303778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Более 70% населения Москвы пользуются услугами МТС.</a:t>
            </a:r>
            <a:endParaRPr lang="en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45EE3D-6D7B-31F3-497E-93739435CDC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33457" y="876589"/>
            <a:ext cx="2671537" cy="26716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8" name="Text Placeholder 28">
            <a:extLst>
              <a:ext uri="{FF2B5EF4-FFF2-40B4-BE49-F238E27FC236}">
                <a16:creationId xmlns:a16="http://schemas.microsoft.com/office/drawing/2014/main" id="{EE1CF02E-B1FD-81F4-5070-59F4C607D4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70776" y="1797615"/>
            <a:ext cx="1805427" cy="82963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2352" b="0" i="0" cap="all" baseline="0"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ru-RU" dirty="0"/>
              <a:t>МТС</a:t>
            </a:r>
            <a:endParaRPr lang="en-RU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B2F8E77-9789-C114-415F-B50B0C96A99A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7508627" y="785770"/>
            <a:ext cx="121196" cy="121202"/>
          </a:xfrm>
          <a:prstGeom prst="ellipse">
            <a:avLst/>
          </a:prstGeom>
          <a:solidFill>
            <a:schemeClr val="tx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E66FAF1-0CDF-867B-C740-30F205F4017D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6128472" y="2121063"/>
            <a:ext cx="121196" cy="121202"/>
          </a:xfrm>
          <a:prstGeom prst="ellipse">
            <a:avLst/>
          </a:prstGeom>
          <a:solidFill>
            <a:schemeClr val="tx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74E3E0C-B697-3118-CD94-53813EED2A76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8875945" y="2332913"/>
            <a:ext cx="121196" cy="121202"/>
          </a:xfrm>
          <a:prstGeom prst="ellipse">
            <a:avLst/>
          </a:prstGeom>
          <a:solidFill>
            <a:schemeClr val="tx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2E56BCDE-CCB2-0201-6FDF-1731A021A4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0177" y="3027216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осква и Московская область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F496F1E-AE65-04EE-18F2-E5911321273B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1762343" y="2675575"/>
            <a:ext cx="183942" cy="183952"/>
          </a:xfrm>
          <a:prstGeom prst="ellipse">
            <a:avLst/>
          </a:prstGeom>
          <a:noFill/>
          <a:ln w="25400">
            <a:solidFill>
              <a:schemeClr val="tx1"/>
            </a:solidFill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77DAAB6A-D2F0-3AAF-2841-695490D9A022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4137170" y="2675575"/>
            <a:ext cx="183942" cy="183952"/>
          </a:xfrm>
          <a:prstGeom prst="ellipse">
            <a:avLst/>
          </a:prstGeom>
          <a:noFill/>
          <a:ln w="25400">
            <a:solidFill>
              <a:schemeClr val="tx1"/>
            </a:solidFill>
            <a:prstDash val="lgDash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52DA56C-22C8-6E9D-0F00-D7F4C5A1909E}"/>
              </a:ext>
            </a:extLst>
          </p:cNvPr>
          <p:cNvCxnSpPr/>
          <p:nvPr/>
        </p:nvCxnSpPr>
        <p:spPr>
          <a:xfrm>
            <a:off x="190407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822D7A6-461D-A2CD-8B84-432CA78A13C9}"/>
              </a:ext>
            </a:extLst>
          </p:cNvPr>
          <p:cNvCxnSpPr/>
          <p:nvPr/>
        </p:nvCxnSpPr>
        <p:spPr>
          <a:xfrm>
            <a:off x="2555930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E9BE3E2B-F5CF-5C25-5431-729EC9BD04E8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1762343" y="3796155"/>
            <a:ext cx="183942" cy="183952"/>
          </a:xfrm>
          <a:prstGeom prst="ellipse">
            <a:avLst/>
          </a:prstGeom>
          <a:noFill/>
          <a:ln w="25400">
            <a:solidFill>
              <a:schemeClr val="tx1"/>
            </a:solidFill>
            <a:prstDash val="dash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D098B9B-316A-5920-4C71-9B26B6AE3EDD}"/>
              </a:ext>
            </a:extLst>
          </p:cNvPr>
          <p:cNvSpPr>
            <a:spLocks noGrp="1"/>
          </p:cNvSpPr>
          <p:nvPr>
            <p:ph type="body" sz="quarter" idx="142" hasCustomPrompt="1"/>
          </p:nvPr>
        </p:nvSpPr>
        <p:spPr>
          <a:xfrm>
            <a:off x="4137170" y="3796155"/>
            <a:ext cx="183942" cy="183952"/>
          </a:xfrm>
          <a:prstGeom prst="ellipse">
            <a:avLst/>
          </a:prstGeom>
          <a:noFill/>
          <a:ln w="25400">
            <a:solidFill>
              <a:schemeClr val="bg1">
                <a:lumMod val="75000"/>
              </a:schemeClr>
            </a:solidFill>
            <a:prstDash val="solid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3FC1E0C-8F62-52DD-77C4-778FC9BF9C6C}"/>
              </a:ext>
            </a:extLst>
          </p:cNvPr>
          <p:cNvCxnSpPr/>
          <p:nvPr/>
        </p:nvCxnSpPr>
        <p:spPr>
          <a:xfrm>
            <a:off x="190407" y="362014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38AE4AE-5481-84CF-4EE6-11197BEC16B4}"/>
              </a:ext>
            </a:extLst>
          </p:cNvPr>
          <p:cNvCxnSpPr/>
          <p:nvPr/>
        </p:nvCxnSpPr>
        <p:spPr>
          <a:xfrm>
            <a:off x="2555930" y="362014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090E31A9-64D9-C36F-9565-5AA7D20C0653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204025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50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9889A8A7-BEE3-A110-4BC4-06BF9762AB8A}"/>
              </a:ext>
            </a:extLst>
          </p:cNvPr>
          <p:cNvSpPr>
            <a:spLocks noGrp="1"/>
          </p:cNvSpPr>
          <p:nvPr>
            <p:ph type="body" sz="quarter" idx="147" hasCustomPrompt="1"/>
          </p:nvPr>
        </p:nvSpPr>
        <p:spPr>
          <a:xfrm>
            <a:off x="2544978" y="3027216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Регионы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66FB9D82-92D3-0166-0129-BCCFA7A3B8B6}"/>
              </a:ext>
            </a:extLst>
          </p:cNvPr>
          <p:cNvSpPr>
            <a:spLocks noGrp="1"/>
          </p:cNvSpPr>
          <p:nvPr>
            <p:ph type="body" sz="quarter" idx="148" hasCustomPrompt="1"/>
          </p:nvPr>
        </p:nvSpPr>
        <p:spPr>
          <a:xfrm>
            <a:off x="2538827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5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009DB30C-DB8F-A70F-8023-ACBFC5CF4D19}"/>
              </a:ext>
            </a:extLst>
          </p:cNvPr>
          <p:cNvSpPr>
            <a:spLocks noGrp="1"/>
          </p:cNvSpPr>
          <p:nvPr>
            <p:ph type="body" sz="quarter" idx="149" hasCustomPrompt="1"/>
          </p:nvPr>
        </p:nvSpPr>
        <p:spPr>
          <a:xfrm>
            <a:off x="210177" y="4149697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Ленобласть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0899385A-EB69-B2E9-CF55-ABD78EF3FED5}"/>
              </a:ext>
            </a:extLst>
          </p:cNvPr>
          <p:cNvSpPr>
            <a:spLocks noGrp="1"/>
          </p:cNvSpPr>
          <p:nvPr>
            <p:ph type="body" sz="quarter" idx="150" hasCustomPrompt="1"/>
          </p:nvPr>
        </p:nvSpPr>
        <p:spPr>
          <a:xfrm>
            <a:off x="204025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50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3D758A74-B7B7-0682-FCCE-215BAB7DC86A}"/>
              </a:ext>
            </a:extLst>
          </p:cNvPr>
          <p:cNvSpPr>
            <a:spLocks noGrp="1"/>
          </p:cNvSpPr>
          <p:nvPr>
            <p:ph type="body" sz="quarter" idx="151" hasCustomPrompt="1"/>
          </p:nvPr>
        </p:nvSpPr>
        <p:spPr>
          <a:xfrm>
            <a:off x="2544978" y="4149697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48" name="Text Placeholder 14">
            <a:extLst>
              <a:ext uri="{FF2B5EF4-FFF2-40B4-BE49-F238E27FC236}">
                <a16:creationId xmlns:a16="http://schemas.microsoft.com/office/drawing/2014/main" id="{B33A0258-F626-2F7B-FABC-5ADE1138CB11}"/>
              </a:ext>
            </a:extLst>
          </p:cNvPr>
          <p:cNvSpPr>
            <a:spLocks noGrp="1"/>
          </p:cNvSpPr>
          <p:nvPr>
            <p:ph type="body" sz="quarter" idx="152" hasCustomPrompt="1"/>
          </p:nvPr>
        </p:nvSpPr>
        <p:spPr>
          <a:xfrm>
            <a:off x="2538827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5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52" name="Chart Placeholder 10">
            <a:extLst>
              <a:ext uri="{FF2B5EF4-FFF2-40B4-BE49-F238E27FC236}">
                <a16:creationId xmlns:a16="http://schemas.microsoft.com/office/drawing/2014/main" id="{CAA6DEBB-1DAF-B5CF-6A53-87D9FF94C8B7}"/>
              </a:ext>
            </a:extLst>
          </p:cNvPr>
          <p:cNvSpPr>
            <a:spLocks noGrp="1"/>
          </p:cNvSpPr>
          <p:nvPr>
            <p:ph type="chart" sz="quarter" idx="153" hasCustomPrompt="1"/>
          </p:nvPr>
        </p:nvSpPr>
        <p:spPr>
          <a:xfrm>
            <a:off x="6096000" y="3803220"/>
            <a:ext cx="2946450" cy="29015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317"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802EF5D0-0027-697D-21E9-B783885016D9}"/>
              </a:ext>
            </a:extLst>
          </p:cNvPr>
          <p:cNvSpPr>
            <a:spLocks noGrp="1"/>
          </p:cNvSpPr>
          <p:nvPr>
            <p:ph type="body" sz="quarter" idx="154" hasCustomPrompt="1"/>
          </p:nvPr>
        </p:nvSpPr>
        <p:spPr>
          <a:xfrm>
            <a:off x="6233457" y="3918141"/>
            <a:ext cx="2671537" cy="26716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54" name="Text Placeholder 28">
            <a:extLst>
              <a:ext uri="{FF2B5EF4-FFF2-40B4-BE49-F238E27FC236}">
                <a16:creationId xmlns:a16="http://schemas.microsoft.com/office/drawing/2014/main" id="{A0C6E700-3D90-9BE5-84B0-4E85E79C754C}"/>
              </a:ext>
            </a:extLst>
          </p:cNvPr>
          <p:cNvSpPr>
            <a:spLocks noGrp="1"/>
          </p:cNvSpPr>
          <p:nvPr>
            <p:ph type="body" sz="quarter" idx="155" hasCustomPrompt="1"/>
          </p:nvPr>
        </p:nvSpPr>
        <p:spPr>
          <a:xfrm>
            <a:off x="6670776" y="4839167"/>
            <a:ext cx="1805427" cy="82963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2352" b="0" i="0" cap="all" baseline="0">
                <a:solidFill>
                  <a:schemeClr val="accent2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en-US" dirty="0"/>
              <a:t>KION</a:t>
            </a:r>
            <a:endParaRPr lang="en-RU" dirty="0"/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0C98D257-B2D4-46F0-43A8-3A5E676BD699}"/>
              </a:ext>
            </a:extLst>
          </p:cNvPr>
          <p:cNvSpPr>
            <a:spLocks noGrp="1"/>
          </p:cNvSpPr>
          <p:nvPr>
            <p:ph type="body" sz="quarter" idx="156" hasCustomPrompt="1"/>
          </p:nvPr>
        </p:nvSpPr>
        <p:spPr>
          <a:xfrm>
            <a:off x="7508627" y="3827322"/>
            <a:ext cx="121196" cy="121202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3F55A5E9-4191-FFFA-C424-E0ADC7C7A389}"/>
              </a:ext>
            </a:extLst>
          </p:cNvPr>
          <p:cNvSpPr>
            <a:spLocks noGrp="1"/>
          </p:cNvSpPr>
          <p:nvPr>
            <p:ph type="body" sz="quarter" idx="157" hasCustomPrompt="1"/>
          </p:nvPr>
        </p:nvSpPr>
        <p:spPr>
          <a:xfrm>
            <a:off x="6128472" y="5162615"/>
            <a:ext cx="121196" cy="121202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DB906079-5DE5-8364-8DCE-1FC003D3E9DC}"/>
              </a:ext>
            </a:extLst>
          </p:cNvPr>
          <p:cNvSpPr>
            <a:spLocks noGrp="1"/>
          </p:cNvSpPr>
          <p:nvPr>
            <p:ph type="body" sz="quarter" idx="158" hasCustomPrompt="1"/>
          </p:nvPr>
        </p:nvSpPr>
        <p:spPr>
          <a:xfrm>
            <a:off x="8875945" y="5374465"/>
            <a:ext cx="121196" cy="121202"/>
          </a:xfrm>
          <a:prstGeom prst="ellipse">
            <a:avLst/>
          </a:prstGeom>
          <a:solidFill>
            <a:schemeClr val="accent2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58" name="Chart Placeholder 10">
            <a:extLst>
              <a:ext uri="{FF2B5EF4-FFF2-40B4-BE49-F238E27FC236}">
                <a16:creationId xmlns:a16="http://schemas.microsoft.com/office/drawing/2014/main" id="{A58B41D0-B08E-D575-F2E1-15D29EDC3621}"/>
              </a:ext>
            </a:extLst>
          </p:cNvPr>
          <p:cNvSpPr>
            <a:spLocks noGrp="1"/>
          </p:cNvSpPr>
          <p:nvPr>
            <p:ph type="chart" sz="quarter" idx="159" hasCustomPrompt="1"/>
          </p:nvPr>
        </p:nvSpPr>
        <p:spPr>
          <a:xfrm>
            <a:off x="9106665" y="761668"/>
            <a:ext cx="2946450" cy="29015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317"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CDE09F8A-1756-1649-EC03-0EF17F7FBAF1}"/>
              </a:ext>
            </a:extLst>
          </p:cNvPr>
          <p:cNvSpPr>
            <a:spLocks noGrp="1"/>
          </p:cNvSpPr>
          <p:nvPr>
            <p:ph type="body" sz="quarter" idx="160" hasCustomPrompt="1"/>
          </p:nvPr>
        </p:nvSpPr>
        <p:spPr>
          <a:xfrm>
            <a:off x="9244122" y="876589"/>
            <a:ext cx="2671537" cy="26716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0" name="Text Placeholder 28">
            <a:extLst>
              <a:ext uri="{FF2B5EF4-FFF2-40B4-BE49-F238E27FC236}">
                <a16:creationId xmlns:a16="http://schemas.microsoft.com/office/drawing/2014/main" id="{0BAF2972-F22C-9082-8163-17D10D834790}"/>
              </a:ext>
            </a:extLst>
          </p:cNvPr>
          <p:cNvSpPr>
            <a:spLocks noGrp="1"/>
          </p:cNvSpPr>
          <p:nvPr>
            <p:ph type="body" sz="quarter" idx="161" hasCustomPrompt="1"/>
          </p:nvPr>
        </p:nvSpPr>
        <p:spPr>
          <a:xfrm>
            <a:off x="9681441" y="1797615"/>
            <a:ext cx="1805427" cy="82963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2352" b="0" i="0" cap="none" baseline="0">
                <a:solidFill>
                  <a:schemeClr val="accent1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en-US" dirty="0"/>
              <a:t>Telecom</a:t>
            </a:r>
            <a:endParaRPr lang="en-RU" dirty="0"/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5C0F6D94-16F0-4972-9B69-A7EEB3F1DB74}"/>
              </a:ext>
            </a:extLst>
          </p:cNvPr>
          <p:cNvSpPr>
            <a:spLocks noGrp="1"/>
          </p:cNvSpPr>
          <p:nvPr>
            <p:ph type="body" sz="quarter" idx="162" hasCustomPrompt="1"/>
          </p:nvPr>
        </p:nvSpPr>
        <p:spPr>
          <a:xfrm>
            <a:off x="10519292" y="785770"/>
            <a:ext cx="121196" cy="121202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3C5B8ED4-1872-D1E8-6656-CCD805F3E881}"/>
              </a:ext>
            </a:extLst>
          </p:cNvPr>
          <p:cNvSpPr>
            <a:spLocks noGrp="1"/>
          </p:cNvSpPr>
          <p:nvPr>
            <p:ph type="body" sz="quarter" idx="163" hasCustomPrompt="1"/>
          </p:nvPr>
        </p:nvSpPr>
        <p:spPr>
          <a:xfrm>
            <a:off x="9139137" y="2121063"/>
            <a:ext cx="121196" cy="121202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797541E3-0298-F80D-94B1-15DDD50B5DD9}"/>
              </a:ext>
            </a:extLst>
          </p:cNvPr>
          <p:cNvSpPr>
            <a:spLocks noGrp="1"/>
          </p:cNvSpPr>
          <p:nvPr>
            <p:ph type="body" sz="quarter" idx="164" hasCustomPrompt="1"/>
          </p:nvPr>
        </p:nvSpPr>
        <p:spPr>
          <a:xfrm>
            <a:off x="11886610" y="2332913"/>
            <a:ext cx="121196" cy="121202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4" name="Chart Placeholder 10">
            <a:extLst>
              <a:ext uri="{FF2B5EF4-FFF2-40B4-BE49-F238E27FC236}">
                <a16:creationId xmlns:a16="http://schemas.microsoft.com/office/drawing/2014/main" id="{B1AD0434-0D25-250C-521F-A42FF1D24C19}"/>
              </a:ext>
            </a:extLst>
          </p:cNvPr>
          <p:cNvSpPr>
            <a:spLocks noGrp="1"/>
          </p:cNvSpPr>
          <p:nvPr>
            <p:ph type="chart" sz="quarter" idx="165" hasCustomPrompt="1"/>
          </p:nvPr>
        </p:nvSpPr>
        <p:spPr>
          <a:xfrm>
            <a:off x="9106665" y="3803220"/>
            <a:ext cx="2946450" cy="29015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FontTx/>
              <a:buNone/>
              <a:defRPr sz="1317"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7BA43012-BCC9-9307-002D-2CA3D4901807}"/>
              </a:ext>
            </a:extLst>
          </p:cNvPr>
          <p:cNvSpPr>
            <a:spLocks noGrp="1"/>
          </p:cNvSpPr>
          <p:nvPr>
            <p:ph type="body" sz="quarter" idx="166" hasCustomPrompt="1"/>
          </p:nvPr>
        </p:nvSpPr>
        <p:spPr>
          <a:xfrm>
            <a:off x="9244122" y="3918141"/>
            <a:ext cx="2671537" cy="267168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6" name="Text Placeholder 28">
            <a:extLst>
              <a:ext uri="{FF2B5EF4-FFF2-40B4-BE49-F238E27FC236}">
                <a16:creationId xmlns:a16="http://schemas.microsoft.com/office/drawing/2014/main" id="{592DE6E3-C4F8-A5C9-C525-217D2B667E25}"/>
              </a:ext>
            </a:extLst>
          </p:cNvPr>
          <p:cNvSpPr>
            <a:spLocks noGrp="1"/>
          </p:cNvSpPr>
          <p:nvPr>
            <p:ph type="body" sz="quarter" idx="167" hasCustomPrompt="1"/>
          </p:nvPr>
        </p:nvSpPr>
        <p:spPr>
          <a:xfrm>
            <a:off x="9681441" y="4839167"/>
            <a:ext cx="1805427" cy="82963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2352" b="0" i="0" cap="none" baseline="0">
                <a:solidFill>
                  <a:schemeClr val="accent4"/>
                </a:solidFill>
                <a:latin typeface="MTS Wide Medium" panose="020B0306020102020303" pitchFamily="34" charset="0"/>
                <a:ea typeface="MTS Wide Medium" panose="020B0306020102020303" pitchFamily="34" charset="0"/>
              </a:defRPr>
            </a:lvl1pPr>
            <a:lvl2pPr marL="483763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2pPr>
            <a:lvl3pPr marL="967525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3pPr>
            <a:lvl4pPr marL="1451289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4pPr>
            <a:lvl5pPr marL="1935052" indent="0">
              <a:buFontTx/>
              <a:buNone/>
              <a:defRPr sz="7762" b="0" i="0">
                <a:latin typeface="MTS Wide Medium" panose="020B0306020102020303" pitchFamily="34" charset="0"/>
                <a:ea typeface="MTS Wide Medium" panose="020B0306020102020303" pitchFamily="34" charset="0"/>
              </a:defRPr>
            </a:lvl5pPr>
          </a:lstStyle>
          <a:p>
            <a:pPr lvl="0"/>
            <a:r>
              <a:rPr lang="en-US" dirty="0"/>
              <a:t>Telecom</a:t>
            </a:r>
            <a:endParaRPr lang="en-RU" dirty="0"/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13784C88-499A-9D54-7198-B88F7EAE6A3F}"/>
              </a:ext>
            </a:extLst>
          </p:cNvPr>
          <p:cNvSpPr>
            <a:spLocks noGrp="1"/>
          </p:cNvSpPr>
          <p:nvPr>
            <p:ph type="body" sz="quarter" idx="168" hasCustomPrompt="1"/>
          </p:nvPr>
        </p:nvSpPr>
        <p:spPr>
          <a:xfrm>
            <a:off x="10519292" y="3827322"/>
            <a:ext cx="121196" cy="121202"/>
          </a:xfrm>
          <a:prstGeom prst="ellipse">
            <a:avLst/>
          </a:prstGeom>
          <a:solidFill>
            <a:schemeClr val="accent4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81FFF66D-E867-0CFB-B6B9-DD57FDB0AF4E}"/>
              </a:ext>
            </a:extLst>
          </p:cNvPr>
          <p:cNvSpPr>
            <a:spLocks noGrp="1"/>
          </p:cNvSpPr>
          <p:nvPr>
            <p:ph type="body" sz="quarter" idx="169" hasCustomPrompt="1"/>
          </p:nvPr>
        </p:nvSpPr>
        <p:spPr>
          <a:xfrm>
            <a:off x="9139137" y="5162615"/>
            <a:ext cx="121196" cy="121202"/>
          </a:xfrm>
          <a:prstGeom prst="ellipse">
            <a:avLst/>
          </a:prstGeom>
          <a:solidFill>
            <a:schemeClr val="accent4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F2A3B846-58C9-1220-A33B-28C6CB18D855}"/>
              </a:ext>
            </a:extLst>
          </p:cNvPr>
          <p:cNvSpPr>
            <a:spLocks noGrp="1"/>
          </p:cNvSpPr>
          <p:nvPr>
            <p:ph type="body" sz="quarter" idx="170" hasCustomPrompt="1"/>
          </p:nvPr>
        </p:nvSpPr>
        <p:spPr>
          <a:xfrm>
            <a:off x="11886610" y="5374465"/>
            <a:ext cx="121196" cy="121202"/>
          </a:xfrm>
          <a:prstGeom prst="ellipse">
            <a:avLst/>
          </a:prstGeom>
          <a:solidFill>
            <a:schemeClr val="accent4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922473318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График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10">
            <a:extLst>
              <a:ext uri="{FF2B5EF4-FFF2-40B4-BE49-F238E27FC236}">
                <a16:creationId xmlns:a16="http://schemas.microsoft.com/office/drawing/2014/main" id="{F2D576CB-EFCA-E417-3F6D-E4F2587D409E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761669"/>
            <a:ext cx="5905593" cy="581554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b="0" i="0">
                <a:solidFill>
                  <a:schemeClr val="bg2">
                    <a:lumMod val="90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График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E752014F-D39D-CB66-FF31-2338DEDF8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143658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CD756BA-76A7-3A0C-999D-C7F2F6AB268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32377" y="6504534"/>
            <a:ext cx="1761448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FE294E8-AA2C-765E-DFA3-D7540F9A4DEF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B94C341-45FF-2557-437C-D0571A816179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3B0F0FFB-19A0-EC2E-E8C5-EDFA02AD7DAD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4F1A61CC-5800-7780-CF6E-EE9FA6B2CFA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3D10494-6E86-5267-0F01-EFEAE8C28F2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" name="Title 25">
            <a:extLst>
              <a:ext uri="{FF2B5EF4-FFF2-40B4-BE49-F238E27FC236}">
                <a16:creationId xmlns:a16="http://schemas.microsoft.com/office/drawing/2014/main" id="{97D570E6-D5E0-0FAA-9572-4031E9A1A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348" y="742118"/>
            <a:ext cx="5303778" cy="1220298"/>
          </a:xfrm>
        </p:spPr>
        <p:txBody>
          <a:bodyPr/>
          <a:lstStyle>
            <a:lvl1pPr>
              <a:lnSpc>
                <a:spcPct val="90000"/>
              </a:lnSpc>
              <a:defRPr sz="2352" b="0" i="0" spc="71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 dirty="0"/>
              <a:t>Более 70% населения Москвы пользуются услугами МТС.</a:t>
            </a:r>
            <a:endParaRPr lang="en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0A5058A-6D6D-1B58-6FE8-67BCF5F050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0177" y="3027216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осква и Московская область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8D58B2F-E633-3701-D47A-A9E65D9462C4}"/>
              </a:ext>
            </a:extLst>
          </p:cNvPr>
          <p:cNvSpPr>
            <a:spLocks noGrp="1"/>
          </p:cNvSpPr>
          <p:nvPr>
            <p:ph type="body" sz="quarter" idx="129" hasCustomPrompt="1"/>
          </p:nvPr>
        </p:nvSpPr>
        <p:spPr>
          <a:xfrm>
            <a:off x="1762343" y="2675575"/>
            <a:ext cx="183942" cy="183952"/>
          </a:xfrm>
          <a:prstGeom prst="ellipse">
            <a:avLst/>
          </a:prstGeom>
          <a:solidFill>
            <a:schemeClr val="accent1"/>
          </a:solidFill>
          <a:ln w="25400">
            <a:noFill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73AE944E-0901-159A-860B-5B9C66777A0A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4137170" y="2675575"/>
            <a:ext cx="183942" cy="183952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noFill/>
            <a:prstDash val="lgDash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806B9A4-FB9D-8E7A-EE87-232F051E1DF3}"/>
              </a:ext>
            </a:extLst>
          </p:cNvPr>
          <p:cNvCxnSpPr/>
          <p:nvPr/>
        </p:nvCxnSpPr>
        <p:spPr>
          <a:xfrm>
            <a:off x="190407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CA20B53-856E-0442-6A43-75E28CBF9C4B}"/>
              </a:ext>
            </a:extLst>
          </p:cNvPr>
          <p:cNvCxnSpPr/>
          <p:nvPr/>
        </p:nvCxnSpPr>
        <p:spPr>
          <a:xfrm>
            <a:off x="2555930" y="249956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C635CB80-CEB1-FBAE-319F-0204642CC30C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1762343" y="3796155"/>
            <a:ext cx="183942" cy="18395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5400">
            <a:noFill/>
            <a:prstDash val="dash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806DBB8-7480-7C08-F1D2-4166117CBD1D}"/>
              </a:ext>
            </a:extLst>
          </p:cNvPr>
          <p:cNvSpPr>
            <a:spLocks noGrp="1"/>
          </p:cNvSpPr>
          <p:nvPr>
            <p:ph type="body" sz="quarter" idx="142" hasCustomPrompt="1"/>
          </p:nvPr>
        </p:nvSpPr>
        <p:spPr>
          <a:xfrm>
            <a:off x="4137170" y="3796155"/>
            <a:ext cx="183942" cy="18395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noFill/>
            <a:prstDash val="solid"/>
          </a:ln>
        </p:spPr>
        <p:txBody>
          <a:bodyPr/>
          <a:lstStyle/>
          <a:p>
            <a:pPr lvl="0"/>
            <a:r>
              <a:rPr lang="ru-RU" dirty="0"/>
              <a:t> </a:t>
            </a:r>
            <a:endParaRPr lang="en-RU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A147CD8-09A7-2126-E996-01EA84C38831}"/>
              </a:ext>
            </a:extLst>
          </p:cNvPr>
          <p:cNvCxnSpPr/>
          <p:nvPr/>
        </p:nvCxnSpPr>
        <p:spPr>
          <a:xfrm>
            <a:off x="190407" y="362014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85D64BC-148C-2425-DFAF-E0C32B0E49EA}"/>
              </a:ext>
            </a:extLst>
          </p:cNvPr>
          <p:cNvCxnSpPr/>
          <p:nvPr/>
        </p:nvCxnSpPr>
        <p:spPr>
          <a:xfrm>
            <a:off x="2555930" y="3620140"/>
            <a:ext cx="176144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9ECA1400-166D-FBE6-69FB-16229F3369BA}"/>
              </a:ext>
            </a:extLst>
          </p:cNvPr>
          <p:cNvSpPr>
            <a:spLocks noGrp="1"/>
          </p:cNvSpPr>
          <p:nvPr>
            <p:ph type="body" sz="quarter" idx="128" hasCustomPrompt="1"/>
          </p:nvPr>
        </p:nvSpPr>
        <p:spPr>
          <a:xfrm>
            <a:off x="204025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50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FF222637-8C12-6F9C-E5B3-D3C6C57D3B70}"/>
              </a:ext>
            </a:extLst>
          </p:cNvPr>
          <p:cNvSpPr>
            <a:spLocks noGrp="1"/>
          </p:cNvSpPr>
          <p:nvPr>
            <p:ph type="body" sz="quarter" idx="147" hasCustomPrompt="1"/>
          </p:nvPr>
        </p:nvSpPr>
        <p:spPr>
          <a:xfrm>
            <a:off x="2544978" y="3027216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Регионы</a:t>
            </a:r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7DC08D06-6AA4-53FE-5BD8-41AB083F5384}"/>
              </a:ext>
            </a:extLst>
          </p:cNvPr>
          <p:cNvSpPr>
            <a:spLocks noGrp="1"/>
          </p:cNvSpPr>
          <p:nvPr>
            <p:ph type="body" sz="quarter" idx="148" hasCustomPrompt="1"/>
          </p:nvPr>
        </p:nvSpPr>
        <p:spPr>
          <a:xfrm>
            <a:off x="2538827" y="2667857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5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B33470A9-9275-47BB-94F0-9F9B4842EB10}"/>
              </a:ext>
            </a:extLst>
          </p:cNvPr>
          <p:cNvSpPr>
            <a:spLocks noGrp="1"/>
          </p:cNvSpPr>
          <p:nvPr>
            <p:ph type="body" sz="quarter" idx="149" hasCustomPrompt="1"/>
          </p:nvPr>
        </p:nvSpPr>
        <p:spPr>
          <a:xfrm>
            <a:off x="210177" y="4149697"/>
            <a:ext cx="1736108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Ленобласть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0B9DA084-D737-A91F-3450-4AB252FDF571}"/>
              </a:ext>
            </a:extLst>
          </p:cNvPr>
          <p:cNvSpPr>
            <a:spLocks noGrp="1"/>
          </p:cNvSpPr>
          <p:nvPr>
            <p:ph type="body" sz="quarter" idx="150" hasCustomPrompt="1"/>
          </p:nvPr>
        </p:nvSpPr>
        <p:spPr>
          <a:xfrm>
            <a:off x="204025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50</a:t>
            </a:r>
            <a:r>
              <a:rPr lang="en-US" dirty="0"/>
              <a:t>%</a:t>
            </a:r>
            <a:endParaRPr lang="ru-RU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7EE6216C-5A35-8A43-DFC9-9145D0DA46E5}"/>
              </a:ext>
            </a:extLst>
          </p:cNvPr>
          <p:cNvSpPr>
            <a:spLocks noGrp="1"/>
          </p:cNvSpPr>
          <p:nvPr>
            <p:ph type="body" sz="quarter" idx="151" hasCustomPrompt="1"/>
          </p:nvPr>
        </p:nvSpPr>
        <p:spPr>
          <a:xfrm>
            <a:off x="2544978" y="4149697"/>
            <a:ext cx="1761449" cy="38627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омашние сервисы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98CC07F6-6B6A-B5F5-0F3D-EB3F855B35F7}"/>
              </a:ext>
            </a:extLst>
          </p:cNvPr>
          <p:cNvSpPr>
            <a:spLocks noGrp="1"/>
          </p:cNvSpPr>
          <p:nvPr>
            <p:ph type="body" sz="quarter" idx="152" hasCustomPrompt="1"/>
          </p:nvPr>
        </p:nvSpPr>
        <p:spPr>
          <a:xfrm>
            <a:off x="2538827" y="3790338"/>
            <a:ext cx="1166903" cy="26837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6752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2352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rtl="0"/>
            <a:r>
              <a:rPr lang="ru-RU" dirty="0"/>
              <a:t>25</a:t>
            </a:r>
            <a:r>
              <a:rPr lang="en-US" dirty="0"/>
              <a:t>%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616236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-раздел 1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B60AC188-502A-3372-D1B2-52A950287FE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5920700"/>
              <a:gd name="connsiteY0" fmla="*/ 0 h 14579600"/>
              <a:gd name="connsiteX1" fmla="*/ 24282700 w 25920700"/>
              <a:gd name="connsiteY1" fmla="*/ 0 h 14579600"/>
              <a:gd name="connsiteX2" fmla="*/ 24282700 w 25920700"/>
              <a:gd name="connsiteY2" fmla="*/ 816407 h 14579600"/>
              <a:gd name="connsiteX3" fmla="*/ 25103500 w 25920700"/>
              <a:gd name="connsiteY3" fmla="*/ 816407 h 14579600"/>
              <a:gd name="connsiteX4" fmla="*/ 25103500 w 25920700"/>
              <a:gd name="connsiteY4" fmla="*/ 1637206 h 14579600"/>
              <a:gd name="connsiteX5" fmla="*/ 25920700 w 25920700"/>
              <a:gd name="connsiteY5" fmla="*/ 1637206 h 14579600"/>
              <a:gd name="connsiteX6" fmla="*/ 25920700 w 25920700"/>
              <a:gd name="connsiteY6" fmla="*/ 7289801 h 14579600"/>
              <a:gd name="connsiteX7" fmla="*/ 16705263 w 25920700"/>
              <a:gd name="connsiteY7" fmla="*/ 7289801 h 14579600"/>
              <a:gd name="connsiteX8" fmla="*/ 16705263 w 25920700"/>
              <a:gd name="connsiteY8" fmla="*/ 14228763 h 14579600"/>
              <a:gd name="connsiteX9" fmla="*/ 16705263 w 25920700"/>
              <a:gd name="connsiteY9" fmla="*/ 14578013 h 14579600"/>
              <a:gd name="connsiteX10" fmla="*/ 16705263 w 25920700"/>
              <a:gd name="connsiteY10" fmla="*/ 14579600 h 14579600"/>
              <a:gd name="connsiteX11" fmla="*/ 824400 w 25920700"/>
              <a:gd name="connsiteY11" fmla="*/ 14579600 h 14579600"/>
              <a:gd name="connsiteX12" fmla="*/ 824400 w 25920700"/>
              <a:gd name="connsiteY12" fmla="*/ 13755200 h 14579600"/>
              <a:gd name="connsiteX13" fmla="*/ 0 w 25920700"/>
              <a:gd name="connsiteY13" fmla="*/ 13755200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5920700" h="14579600">
                <a:moveTo>
                  <a:pt x="0" y="0"/>
                </a:moveTo>
                <a:lnTo>
                  <a:pt x="24282700" y="0"/>
                </a:lnTo>
                <a:lnTo>
                  <a:pt x="24282700" y="816407"/>
                </a:lnTo>
                <a:lnTo>
                  <a:pt x="25103500" y="816407"/>
                </a:lnTo>
                <a:lnTo>
                  <a:pt x="25103500" y="1637206"/>
                </a:lnTo>
                <a:lnTo>
                  <a:pt x="25920700" y="1637206"/>
                </a:lnTo>
                <a:lnTo>
                  <a:pt x="25920700" y="7289801"/>
                </a:lnTo>
                <a:lnTo>
                  <a:pt x="16705263" y="7289801"/>
                </a:lnTo>
                <a:lnTo>
                  <a:pt x="16705263" y="14228763"/>
                </a:lnTo>
                <a:lnTo>
                  <a:pt x="16705263" y="14578013"/>
                </a:lnTo>
                <a:lnTo>
                  <a:pt x="16705263" y="14579600"/>
                </a:lnTo>
                <a:lnTo>
                  <a:pt x="824400" y="14579600"/>
                </a:lnTo>
                <a:lnTo>
                  <a:pt x="824400" y="13755200"/>
                </a:lnTo>
                <a:lnTo>
                  <a:pt x="0" y="137552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grpSp>
        <p:nvGrpSpPr>
          <p:cNvPr id="15" name="Graphic 12">
            <a:extLst>
              <a:ext uri="{FF2B5EF4-FFF2-40B4-BE49-F238E27FC236}">
                <a16:creationId xmlns:a16="http://schemas.microsoft.com/office/drawing/2014/main" id="{836474A4-412E-2D1D-1CA0-8ED3881ED400}"/>
              </a:ext>
            </a:extLst>
          </p:cNvPr>
          <p:cNvGrpSpPr/>
          <p:nvPr/>
        </p:nvGrpSpPr>
        <p:grpSpPr>
          <a:xfrm>
            <a:off x="11421554" y="-374"/>
            <a:ext cx="770446" cy="770488"/>
            <a:chOff x="12388850" y="6718300"/>
            <a:chExt cx="1143000" cy="1143000"/>
          </a:xfrm>
        </p:grpSpPr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295C8C1D-A6F1-1F06-7B54-C6A2D6CC38FE}"/>
                </a:ext>
              </a:extLst>
            </p:cNvPr>
            <p:cNvSpPr/>
            <p:nvPr/>
          </p:nvSpPr>
          <p:spPr>
            <a:xfrm>
              <a:off x="12388850" y="6718300"/>
              <a:ext cx="1143000" cy="1143000"/>
            </a:xfrm>
            <a:custGeom>
              <a:avLst/>
              <a:gdLst>
                <a:gd name="connsiteX0" fmla="*/ 0 w 1143000"/>
                <a:gd name="connsiteY0" fmla="*/ 0 h 1143000"/>
                <a:gd name="connsiteX1" fmla="*/ 1143000 w 1143000"/>
                <a:gd name="connsiteY1" fmla="*/ 0 h 1143000"/>
                <a:gd name="connsiteX2" fmla="*/ 1143000 w 1143000"/>
                <a:gd name="connsiteY2" fmla="*/ 1143000 h 1143000"/>
                <a:gd name="connsiteX3" fmla="*/ 571500 w 1143000"/>
                <a:gd name="connsiteY3" fmla="*/ 1143000 h 1143000"/>
                <a:gd name="connsiteX4" fmla="*/ 571500 w 1143000"/>
                <a:gd name="connsiteY4" fmla="*/ 571500 h 1143000"/>
                <a:gd name="connsiteX5" fmla="*/ 0 w 1143000"/>
                <a:gd name="connsiteY5" fmla="*/ 57150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000" h="1143000">
                  <a:moveTo>
                    <a:pt x="0" y="0"/>
                  </a:moveTo>
                  <a:lnTo>
                    <a:pt x="1143000" y="0"/>
                  </a:lnTo>
                  <a:lnTo>
                    <a:pt x="1143000" y="1143000"/>
                  </a:lnTo>
                  <a:lnTo>
                    <a:pt x="571500" y="1143000"/>
                  </a:lnTo>
                  <a:lnTo>
                    <a:pt x="57150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53690BBA-5869-3DBB-4AE0-B2D98B1BABB8}"/>
                </a:ext>
              </a:extLst>
            </p:cNvPr>
            <p:cNvSpPr/>
            <p:nvPr/>
          </p:nvSpPr>
          <p:spPr>
            <a:xfrm>
              <a:off x="13150468" y="6805453"/>
              <a:ext cx="294036" cy="265366"/>
            </a:xfrm>
            <a:custGeom>
              <a:avLst/>
              <a:gdLst>
                <a:gd name="connsiteX0" fmla="*/ 0 w 294036"/>
                <a:gd name="connsiteY0" fmla="*/ 0 h 265366"/>
                <a:gd name="connsiteX1" fmla="*/ 0 w 294036"/>
                <a:gd name="connsiteY1" fmla="*/ 53340 h 265366"/>
                <a:gd name="connsiteX2" fmla="*/ 114871 w 294036"/>
                <a:gd name="connsiteY2" fmla="*/ 53340 h 265366"/>
                <a:gd name="connsiteX3" fmla="*/ 114871 w 294036"/>
                <a:gd name="connsiteY3" fmla="*/ 261938 h 265366"/>
                <a:gd name="connsiteX4" fmla="*/ 114871 w 294036"/>
                <a:gd name="connsiteY4" fmla="*/ 265367 h 265366"/>
                <a:gd name="connsiteX5" fmla="*/ 179165 w 294036"/>
                <a:gd name="connsiteY5" fmla="*/ 265367 h 265366"/>
                <a:gd name="connsiteX6" fmla="*/ 179165 w 294036"/>
                <a:gd name="connsiteY6" fmla="*/ 53340 h 265366"/>
                <a:gd name="connsiteX7" fmla="*/ 294037 w 294036"/>
                <a:gd name="connsiteY7" fmla="*/ 53340 h 265366"/>
                <a:gd name="connsiteX8" fmla="*/ 294037 w 294036"/>
                <a:gd name="connsiteY8" fmla="*/ 0 h 26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036" h="265366">
                  <a:moveTo>
                    <a:pt x="0" y="0"/>
                  </a:moveTo>
                  <a:lnTo>
                    <a:pt x="0" y="53340"/>
                  </a:lnTo>
                  <a:lnTo>
                    <a:pt x="114871" y="53340"/>
                  </a:lnTo>
                  <a:lnTo>
                    <a:pt x="114871" y="261938"/>
                  </a:lnTo>
                  <a:lnTo>
                    <a:pt x="114871" y="265367"/>
                  </a:lnTo>
                  <a:lnTo>
                    <a:pt x="179165" y="265367"/>
                  </a:lnTo>
                  <a:lnTo>
                    <a:pt x="179165" y="53340"/>
                  </a:lnTo>
                  <a:lnTo>
                    <a:pt x="294037" y="53340"/>
                  </a:lnTo>
                  <a:lnTo>
                    <a:pt x="294037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DC51545-FADD-8B22-BE63-4252EE549BB7}"/>
                </a:ext>
              </a:extLst>
            </p:cNvPr>
            <p:cNvSpPr/>
            <p:nvPr/>
          </p:nvSpPr>
          <p:spPr>
            <a:xfrm>
              <a:off x="12476956" y="6806215"/>
              <a:ext cx="351567" cy="263747"/>
            </a:xfrm>
            <a:custGeom>
              <a:avLst/>
              <a:gdLst>
                <a:gd name="connsiteX0" fmla="*/ 259747 w 351567"/>
                <a:gd name="connsiteY0" fmla="*/ 0 h 263747"/>
                <a:gd name="connsiteX1" fmla="*/ 175736 w 351567"/>
                <a:gd name="connsiteY1" fmla="*/ 174498 h 263747"/>
                <a:gd name="connsiteX2" fmla="*/ 91726 w 351567"/>
                <a:gd name="connsiteY2" fmla="*/ 0 h 263747"/>
                <a:gd name="connsiteX3" fmla="*/ 0 w 351567"/>
                <a:gd name="connsiteY3" fmla="*/ 0 h 263747"/>
                <a:gd name="connsiteX4" fmla="*/ 0 w 351567"/>
                <a:gd name="connsiteY4" fmla="*/ 263747 h 263747"/>
                <a:gd name="connsiteX5" fmla="*/ 64294 w 351567"/>
                <a:gd name="connsiteY5" fmla="*/ 263747 h 263747"/>
                <a:gd name="connsiteX6" fmla="*/ 64294 w 351567"/>
                <a:gd name="connsiteY6" fmla="*/ 74962 h 263747"/>
                <a:gd name="connsiteX7" fmla="*/ 146399 w 351567"/>
                <a:gd name="connsiteY7" fmla="*/ 234505 h 263747"/>
                <a:gd name="connsiteX8" fmla="*/ 205073 w 351567"/>
                <a:gd name="connsiteY8" fmla="*/ 234505 h 263747"/>
                <a:gd name="connsiteX9" fmla="*/ 287179 w 351567"/>
                <a:gd name="connsiteY9" fmla="*/ 74962 h 263747"/>
                <a:gd name="connsiteX10" fmla="*/ 287179 w 351567"/>
                <a:gd name="connsiteY10" fmla="*/ 263747 h 263747"/>
                <a:gd name="connsiteX11" fmla="*/ 351568 w 351567"/>
                <a:gd name="connsiteY11" fmla="*/ 263747 h 263747"/>
                <a:gd name="connsiteX12" fmla="*/ 351568 w 351567"/>
                <a:gd name="connsiteY12" fmla="*/ 0 h 26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1567" h="263747">
                  <a:moveTo>
                    <a:pt x="259747" y="0"/>
                  </a:moveTo>
                  <a:lnTo>
                    <a:pt x="175736" y="174498"/>
                  </a:lnTo>
                  <a:lnTo>
                    <a:pt x="91726" y="0"/>
                  </a:lnTo>
                  <a:lnTo>
                    <a:pt x="0" y="0"/>
                  </a:lnTo>
                  <a:lnTo>
                    <a:pt x="0" y="263747"/>
                  </a:lnTo>
                  <a:lnTo>
                    <a:pt x="64294" y="263747"/>
                  </a:lnTo>
                  <a:lnTo>
                    <a:pt x="64294" y="74962"/>
                  </a:lnTo>
                  <a:lnTo>
                    <a:pt x="146399" y="234505"/>
                  </a:lnTo>
                  <a:lnTo>
                    <a:pt x="205073" y="234505"/>
                  </a:lnTo>
                  <a:lnTo>
                    <a:pt x="287179" y="74962"/>
                  </a:lnTo>
                  <a:lnTo>
                    <a:pt x="287179" y="263747"/>
                  </a:lnTo>
                  <a:lnTo>
                    <a:pt x="351568" y="263747"/>
                  </a:lnTo>
                  <a:lnTo>
                    <a:pt x="351568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CDB98746-6E4C-9A18-C044-034A7A748037}"/>
                </a:ext>
              </a:extLst>
            </p:cNvPr>
            <p:cNvSpPr/>
            <p:nvPr/>
          </p:nvSpPr>
          <p:spPr>
            <a:xfrm>
              <a:off x="13150468" y="7503872"/>
              <a:ext cx="293751" cy="275085"/>
            </a:xfrm>
            <a:custGeom>
              <a:avLst/>
              <a:gdLst>
                <a:gd name="connsiteX0" fmla="*/ 229457 w 293751"/>
                <a:gd name="connsiteY0" fmla="*/ 181596 h 275085"/>
                <a:gd name="connsiteX1" fmla="*/ 216884 w 293751"/>
                <a:gd name="connsiteY1" fmla="*/ 207314 h 275085"/>
                <a:gd name="connsiteX2" fmla="*/ 191167 w 293751"/>
                <a:gd name="connsiteY2" fmla="*/ 220268 h 275085"/>
                <a:gd name="connsiteX3" fmla="*/ 148590 w 293751"/>
                <a:gd name="connsiteY3" fmla="*/ 224173 h 275085"/>
                <a:gd name="connsiteX4" fmla="*/ 103727 w 293751"/>
                <a:gd name="connsiteY4" fmla="*/ 217601 h 275085"/>
                <a:gd name="connsiteX5" fmla="*/ 74581 w 293751"/>
                <a:gd name="connsiteY5" fmla="*/ 195693 h 275085"/>
                <a:gd name="connsiteX6" fmla="*/ 64103 w 293751"/>
                <a:gd name="connsiteY6" fmla="*/ 151307 h 275085"/>
                <a:gd name="connsiteX7" fmla="*/ 64103 w 293751"/>
                <a:gd name="connsiteY7" fmla="*/ 124256 h 275085"/>
                <a:gd name="connsiteX8" fmla="*/ 74581 w 293751"/>
                <a:gd name="connsiteY8" fmla="*/ 79679 h 275085"/>
                <a:gd name="connsiteX9" fmla="*/ 103632 w 293751"/>
                <a:gd name="connsiteY9" fmla="*/ 57771 h 275085"/>
                <a:gd name="connsiteX10" fmla="*/ 148495 w 293751"/>
                <a:gd name="connsiteY10" fmla="*/ 51199 h 275085"/>
                <a:gd name="connsiteX11" fmla="*/ 191071 w 293751"/>
                <a:gd name="connsiteY11" fmla="*/ 55009 h 275085"/>
                <a:gd name="connsiteX12" fmla="*/ 216789 w 293751"/>
                <a:gd name="connsiteY12" fmla="*/ 67963 h 275085"/>
                <a:gd name="connsiteX13" fmla="*/ 229362 w 293751"/>
                <a:gd name="connsiteY13" fmla="*/ 93680 h 275085"/>
                <a:gd name="connsiteX14" fmla="*/ 293751 w 293751"/>
                <a:gd name="connsiteY14" fmla="*/ 93680 h 275085"/>
                <a:gd name="connsiteX15" fmla="*/ 271748 w 293751"/>
                <a:gd name="connsiteY15" fmla="*/ 38531 h 275085"/>
                <a:gd name="connsiteX16" fmla="*/ 223361 w 293751"/>
                <a:gd name="connsiteY16" fmla="*/ 9003 h 275085"/>
                <a:gd name="connsiteX17" fmla="*/ 148590 w 293751"/>
                <a:gd name="connsiteY17" fmla="*/ 50 h 275085"/>
                <a:gd name="connsiteX18" fmla="*/ 69152 w 293751"/>
                <a:gd name="connsiteY18" fmla="*/ 13194 h 275085"/>
                <a:gd name="connsiteX19" fmla="*/ 17717 w 293751"/>
                <a:gd name="connsiteY19" fmla="*/ 57200 h 275085"/>
                <a:gd name="connsiteX20" fmla="*/ 0 w 293751"/>
                <a:gd name="connsiteY20" fmla="*/ 134543 h 275085"/>
                <a:gd name="connsiteX21" fmla="*/ 0 w 293751"/>
                <a:gd name="connsiteY21" fmla="*/ 137495 h 275085"/>
                <a:gd name="connsiteX22" fmla="*/ 3429 w 293751"/>
                <a:gd name="connsiteY22" fmla="*/ 137591 h 275085"/>
                <a:gd name="connsiteX23" fmla="*/ 0 w 293751"/>
                <a:gd name="connsiteY23" fmla="*/ 137591 h 275085"/>
                <a:gd name="connsiteX24" fmla="*/ 0 w 293751"/>
                <a:gd name="connsiteY24" fmla="*/ 140543 h 275085"/>
                <a:gd name="connsiteX25" fmla="*/ 17717 w 293751"/>
                <a:gd name="connsiteY25" fmla="*/ 217886 h 275085"/>
                <a:gd name="connsiteX26" fmla="*/ 69152 w 293751"/>
                <a:gd name="connsiteY26" fmla="*/ 261892 h 275085"/>
                <a:gd name="connsiteX27" fmla="*/ 148590 w 293751"/>
                <a:gd name="connsiteY27" fmla="*/ 275036 h 275085"/>
                <a:gd name="connsiteX28" fmla="*/ 223361 w 293751"/>
                <a:gd name="connsiteY28" fmla="*/ 266083 h 275085"/>
                <a:gd name="connsiteX29" fmla="*/ 271748 w 293751"/>
                <a:gd name="connsiteY29" fmla="*/ 236555 h 275085"/>
                <a:gd name="connsiteX30" fmla="*/ 293751 w 293751"/>
                <a:gd name="connsiteY30" fmla="*/ 181406 h 275085"/>
                <a:gd name="connsiteX31" fmla="*/ 229457 w 293751"/>
                <a:gd name="connsiteY31" fmla="*/ 181596 h 27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93751" h="275085">
                  <a:moveTo>
                    <a:pt x="229457" y="181596"/>
                  </a:moveTo>
                  <a:cubicBezTo>
                    <a:pt x="228219" y="191312"/>
                    <a:pt x="223838" y="200360"/>
                    <a:pt x="216884" y="207314"/>
                  </a:cubicBezTo>
                  <a:cubicBezTo>
                    <a:pt x="209645" y="213886"/>
                    <a:pt x="200787" y="218363"/>
                    <a:pt x="191167" y="220268"/>
                  </a:cubicBezTo>
                  <a:cubicBezTo>
                    <a:pt x="177165" y="223030"/>
                    <a:pt x="162877" y="224363"/>
                    <a:pt x="148590" y="224173"/>
                  </a:cubicBezTo>
                  <a:cubicBezTo>
                    <a:pt x="133350" y="224459"/>
                    <a:pt x="118205" y="222268"/>
                    <a:pt x="103727" y="217601"/>
                  </a:cubicBezTo>
                  <a:cubicBezTo>
                    <a:pt x="91821" y="213695"/>
                    <a:pt x="81629" y="205980"/>
                    <a:pt x="74581" y="195693"/>
                  </a:cubicBezTo>
                  <a:cubicBezTo>
                    <a:pt x="67532" y="185311"/>
                    <a:pt x="64103" y="170357"/>
                    <a:pt x="64103" y="151307"/>
                  </a:cubicBezTo>
                  <a:lnTo>
                    <a:pt x="64103" y="124256"/>
                  </a:lnTo>
                  <a:cubicBezTo>
                    <a:pt x="64103" y="105015"/>
                    <a:pt x="67627" y="90061"/>
                    <a:pt x="74581" y="79679"/>
                  </a:cubicBezTo>
                  <a:cubicBezTo>
                    <a:pt x="81534" y="69296"/>
                    <a:pt x="91726" y="61581"/>
                    <a:pt x="103632" y="57771"/>
                  </a:cubicBezTo>
                  <a:cubicBezTo>
                    <a:pt x="118110" y="53104"/>
                    <a:pt x="133255" y="50913"/>
                    <a:pt x="148495" y="51199"/>
                  </a:cubicBezTo>
                  <a:cubicBezTo>
                    <a:pt x="162782" y="51008"/>
                    <a:pt x="177070" y="52247"/>
                    <a:pt x="191071" y="55009"/>
                  </a:cubicBezTo>
                  <a:cubicBezTo>
                    <a:pt x="200692" y="56914"/>
                    <a:pt x="209550" y="61391"/>
                    <a:pt x="216789" y="67963"/>
                  </a:cubicBezTo>
                  <a:cubicBezTo>
                    <a:pt x="223742" y="74916"/>
                    <a:pt x="228219" y="83965"/>
                    <a:pt x="229362" y="93680"/>
                  </a:cubicBezTo>
                  <a:lnTo>
                    <a:pt x="293751" y="93680"/>
                  </a:lnTo>
                  <a:cubicBezTo>
                    <a:pt x="292608" y="73392"/>
                    <a:pt x="284893" y="54056"/>
                    <a:pt x="271748" y="38531"/>
                  </a:cubicBezTo>
                  <a:cubicBezTo>
                    <a:pt x="258794" y="24243"/>
                    <a:pt x="242030" y="14051"/>
                    <a:pt x="223361" y="9003"/>
                  </a:cubicBezTo>
                  <a:cubicBezTo>
                    <a:pt x="198977" y="2526"/>
                    <a:pt x="173736" y="-427"/>
                    <a:pt x="148590" y="50"/>
                  </a:cubicBezTo>
                  <a:cubicBezTo>
                    <a:pt x="117729" y="50"/>
                    <a:pt x="90964" y="4526"/>
                    <a:pt x="69152" y="13194"/>
                  </a:cubicBezTo>
                  <a:cubicBezTo>
                    <a:pt x="47435" y="21576"/>
                    <a:pt x="29337" y="37102"/>
                    <a:pt x="17717" y="57200"/>
                  </a:cubicBezTo>
                  <a:cubicBezTo>
                    <a:pt x="6382" y="76631"/>
                    <a:pt x="381" y="102634"/>
                    <a:pt x="0" y="134543"/>
                  </a:cubicBezTo>
                  <a:lnTo>
                    <a:pt x="0" y="137495"/>
                  </a:lnTo>
                  <a:lnTo>
                    <a:pt x="3429" y="137591"/>
                  </a:lnTo>
                  <a:lnTo>
                    <a:pt x="0" y="137591"/>
                  </a:lnTo>
                  <a:lnTo>
                    <a:pt x="0" y="140543"/>
                  </a:lnTo>
                  <a:cubicBezTo>
                    <a:pt x="381" y="172452"/>
                    <a:pt x="6382" y="198360"/>
                    <a:pt x="17717" y="217886"/>
                  </a:cubicBezTo>
                  <a:cubicBezTo>
                    <a:pt x="29337" y="237984"/>
                    <a:pt x="47435" y="253510"/>
                    <a:pt x="69152" y="261892"/>
                  </a:cubicBezTo>
                  <a:cubicBezTo>
                    <a:pt x="91059" y="270655"/>
                    <a:pt x="117824" y="275036"/>
                    <a:pt x="148590" y="275036"/>
                  </a:cubicBezTo>
                  <a:cubicBezTo>
                    <a:pt x="173831" y="275513"/>
                    <a:pt x="198977" y="272560"/>
                    <a:pt x="223361" y="266083"/>
                  </a:cubicBezTo>
                  <a:cubicBezTo>
                    <a:pt x="241935" y="261130"/>
                    <a:pt x="258794" y="250843"/>
                    <a:pt x="271748" y="236555"/>
                  </a:cubicBezTo>
                  <a:cubicBezTo>
                    <a:pt x="284893" y="221030"/>
                    <a:pt x="292608" y="201694"/>
                    <a:pt x="293751" y="181406"/>
                  </a:cubicBezTo>
                  <a:lnTo>
                    <a:pt x="229457" y="1815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5B6B3A-981F-5054-5CD2-E0D77FFC9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7931" y="797864"/>
            <a:ext cx="10646026" cy="2097701"/>
          </a:xfrm>
        </p:spPr>
        <p:txBody>
          <a:bodyPr/>
          <a:lstStyle>
            <a:lvl1pPr>
              <a:lnSpc>
                <a:spcPct val="90000"/>
              </a:lnSpc>
              <a:defRPr sz="3998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,  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00B61A1-B320-9C76-23BF-0D5EE402F5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83988" y="148976"/>
            <a:ext cx="578386" cy="181885"/>
          </a:xfrm>
          <a:prstGeom prst="rect">
            <a:avLst/>
          </a:prstGeom>
        </p:spPr>
        <p:txBody>
          <a:bodyPr lIns="0" tIns="0" rIns="0" bIns="0"/>
          <a:lstStyle>
            <a:lvl1pPr>
              <a:defRPr sz="988" b="0" i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fld id="{1B200421-228B-BD43-9045-8FEDD241C1B1}" type="slidenum">
              <a:rPr lang="ru-RU" smtClean="0"/>
              <a:t>‹#›</a:t>
            </a:fld>
            <a:endParaRPr lang="ru-RU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4425B867-8272-ABA9-1A3C-EA8BC91071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586" y="8290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F0115790-FCE2-ACBB-7E24-83DDF6DEE5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86" y="102298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13-15</a:t>
            </a:r>
            <a:endParaRPr lang="en-RU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10DAF752-2844-AB5E-AB61-F0948E213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BFF8568-4BEB-4CA2-34AF-08726490A300}"/>
              </a:ext>
            </a:extLst>
          </p:cNvPr>
          <p:cNvSpPr/>
          <p:nvPr/>
        </p:nvSpPr>
        <p:spPr>
          <a:xfrm>
            <a:off x="7857449" y="3429000"/>
            <a:ext cx="433455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7" name="Picture Placeholder 25">
            <a:extLst>
              <a:ext uri="{FF2B5EF4-FFF2-40B4-BE49-F238E27FC236}">
                <a16:creationId xmlns:a16="http://schemas.microsoft.com/office/drawing/2014/main" id="{F57A500F-AA16-4C97-A16D-2B4239A3A70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0115" y="6528331"/>
            <a:ext cx="910813" cy="27479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17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D7EF426B-59BE-B635-7C59-50659E344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49501" y="3644239"/>
            <a:ext cx="2648760" cy="6410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EBE0CC4-BFC6-B487-EF46-95BAE0E106D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62014" y="364423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CEF7BDE3-E2A8-0AB5-6A95-072A56AAE6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62014" y="3838215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58BEBF87-1F53-DD29-A28A-619C4CF8D3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49501" y="4377034"/>
            <a:ext cx="2648760" cy="6410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CD90CC2B-7A1C-DE51-19F5-BB8B55ECC11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2014" y="437703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0802AEBB-9992-65A9-654A-160B061971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62014" y="457100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66F1C493-5D4D-9FD0-2A20-624F64C65F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49501" y="5109828"/>
            <a:ext cx="2648760" cy="6410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CC8E3394-E1BD-A079-3368-EA2E1CBE002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62014" y="510982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E8B6C278-13DD-8C54-1C42-09D70BC05DE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62014" y="530380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8FB43FE8-848C-7DD5-2569-FFE07C392C3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49501" y="5842623"/>
            <a:ext cx="2648760" cy="6410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DD96DFCA-AB3D-2416-08AB-306F8BA3ABE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62014" y="584262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7F84914C-41F9-640B-AE1E-0426411D039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62014" y="603659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DAADDE2-C7D3-6A14-3048-46BC823375ED}"/>
              </a:ext>
            </a:extLst>
          </p:cNvPr>
          <p:cNvSpPr/>
          <p:nvPr/>
        </p:nvSpPr>
        <p:spPr>
          <a:xfrm>
            <a:off x="0" y="6470216"/>
            <a:ext cx="388280" cy="387784"/>
          </a:xfrm>
          <a:prstGeom prst="rect">
            <a:avLst/>
          </a:prstGeom>
          <a:solidFill>
            <a:srgbClr val="FF0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Picture Placeholder 25">
            <a:extLst>
              <a:ext uri="{FF2B5EF4-FFF2-40B4-BE49-F238E27FC236}">
                <a16:creationId xmlns:a16="http://schemas.microsoft.com/office/drawing/2014/main" id="{64F7B91E-6340-CBA8-4CB8-BA5CCE4EB6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6470216"/>
            <a:ext cx="387763" cy="387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23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173328282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A6149-122D-7A14-2AB6-5EB3D4C1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Roadmap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371C55-15DF-941E-8C8D-1EBB588343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3E9CB17B-066C-BBE4-A8A2-BE1A9CCAC5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F911378-1BBC-64E8-E839-E4E63372C657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40BADB3-200F-4527-3BC2-A0488C0FBE0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E15D5B3F-FD2E-F294-EB65-00B62149821A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31EBB512-DD1B-9F09-D765-782FCC8B6AEE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A6367331-06A6-E2F0-D460-2DDC28A46694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DBB9AD2-6A8D-AB1A-591D-F5EA102D45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C80B1A9-9ABB-8D55-19D2-29806F8DEE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A46B5E1-FA61-1995-2669-E4C90EFD0B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09E260A5-506E-7641-8463-F04273E1F3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520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A8A7F279-5724-E84E-339C-995BBD01A3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4520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22CAA125-67EB-C6D3-71E9-9EE66C4664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70338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6EFC5BBC-0FF1-338A-00CF-FB936BC04D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70338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3777F3B6-9D67-86F3-ABF7-4C15691D19A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90109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7AB228CD-4D8C-A10F-0A5C-888837C0483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0109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1FDFFAE-0B97-B77D-2B44-669A8D302AA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0567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0D28C0C4-BC1F-38D2-E5C5-3EB3382738D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50567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87FF090A-8795-BD80-5976-1A20274FC7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30795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CF00253-E1D9-9A22-EA90-897E0998900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30795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7432110-13EA-EB99-5F95-2A017A267AC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11024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24AA2FE2-DB96-AB8F-683E-D43DD4D210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211025" y="2229637"/>
            <a:ext cx="1790569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692697FE-A5EF-25DF-1969-FDA6EC001DB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49576" y="5426930"/>
            <a:ext cx="2963624" cy="9172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 2024 году планируем выйти </a:t>
            </a:r>
            <a:br>
              <a:rPr lang="ru-RU" dirty="0"/>
            </a:br>
            <a:r>
              <a:rPr lang="ru-RU" dirty="0"/>
              <a:t>на рынок Азии и повысить </a:t>
            </a:r>
            <a:r>
              <a:rPr lang="en-GB" dirty="0"/>
              <a:t>KPI </a:t>
            </a:r>
            <a:br>
              <a:rPr lang="ru-RU" dirty="0"/>
            </a:br>
            <a:r>
              <a:rPr lang="ru-RU" dirty="0"/>
              <a:t>на 30%.</a:t>
            </a:r>
            <a:endParaRPr lang="en-RU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9212BF7B-9D1A-AAAE-63A8-A7DFCF2F252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94519" y="2921221"/>
            <a:ext cx="1023716" cy="1023772"/>
          </a:xfrm>
          <a:prstGeom prst="ellipse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19</a:t>
            </a:r>
            <a:endParaRPr lang="en-RU" dirty="0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00E6222-5C47-E874-75F2-88ACCA223CE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290109" y="2921221"/>
            <a:ext cx="1023716" cy="1023772"/>
          </a:xfrm>
          <a:prstGeom prst="ellipse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0</a:t>
            </a:r>
            <a:endParaRPr lang="en-RU" dirty="0"/>
          </a:p>
        </p:txBody>
      </p:sp>
      <p:sp>
        <p:nvSpPr>
          <p:cNvPr id="40" name="Text Placeholder 36">
            <a:extLst>
              <a:ext uri="{FF2B5EF4-FFF2-40B4-BE49-F238E27FC236}">
                <a16:creationId xmlns:a16="http://schemas.microsoft.com/office/drawing/2014/main" id="{6CFB39BC-450C-4B5D-6926-D17F638292A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0338" y="2921221"/>
            <a:ext cx="1023716" cy="1023772"/>
          </a:xfrm>
          <a:prstGeom prst="ellipse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1</a:t>
            </a:r>
            <a:endParaRPr lang="en-RU" dirty="0"/>
          </a:p>
        </p:txBody>
      </p:sp>
      <p:sp>
        <p:nvSpPr>
          <p:cNvPr id="41" name="Text Placeholder 36">
            <a:extLst>
              <a:ext uri="{FF2B5EF4-FFF2-40B4-BE49-F238E27FC236}">
                <a16:creationId xmlns:a16="http://schemas.microsoft.com/office/drawing/2014/main" id="{EE27E97D-A741-8573-74DD-7B31353B37C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50566" y="2921221"/>
            <a:ext cx="1023716" cy="1023772"/>
          </a:xfrm>
          <a:prstGeom prst="ellipse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2</a:t>
            </a:r>
            <a:endParaRPr lang="en-RU" dirty="0"/>
          </a:p>
        </p:txBody>
      </p:sp>
      <p:sp>
        <p:nvSpPr>
          <p:cNvPr id="42" name="Text Placeholder 36">
            <a:extLst>
              <a:ext uri="{FF2B5EF4-FFF2-40B4-BE49-F238E27FC236}">
                <a16:creationId xmlns:a16="http://schemas.microsoft.com/office/drawing/2014/main" id="{EC19E6BC-9BE4-AAD1-26F9-0B048E4C5DE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230795" y="2921221"/>
            <a:ext cx="1023716" cy="1023772"/>
          </a:xfrm>
          <a:prstGeom prst="ellipse">
            <a:avLst/>
          </a:prstGeom>
          <a:solidFill>
            <a:schemeClr val="accent3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3</a:t>
            </a:r>
            <a:endParaRPr lang="en-RU" dirty="0"/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1DF22A9F-A8D1-3219-A9DD-EE9BA4B730F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211024" y="2921221"/>
            <a:ext cx="1023716" cy="1023772"/>
          </a:xfrm>
          <a:prstGeom prst="ellipse">
            <a:avLst/>
          </a:prstGeom>
          <a:solidFill>
            <a:schemeClr val="accent3">
              <a:lumMod val="75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4</a:t>
            </a:r>
            <a:endParaRPr lang="en-RU" dirty="0"/>
          </a:p>
        </p:txBody>
      </p:sp>
      <p:sp>
        <p:nvSpPr>
          <p:cNvPr id="51" name="Freeform 50">
            <a:extLst>
              <a:ext uri="{FF2B5EF4-FFF2-40B4-BE49-F238E27FC236}">
                <a16:creationId xmlns:a16="http://schemas.microsoft.com/office/drawing/2014/main" id="{8A4A3A03-B17D-4102-D610-5A8EFF44CD75}"/>
              </a:ext>
            </a:extLst>
          </p:cNvPr>
          <p:cNvSpPr/>
          <p:nvPr/>
        </p:nvSpPr>
        <p:spPr>
          <a:xfrm>
            <a:off x="190407" y="2835595"/>
            <a:ext cx="12036580" cy="1194774"/>
          </a:xfrm>
          <a:custGeom>
            <a:avLst/>
            <a:gdLst>
              <a:gd name="connsiteX0" fmla="*/ 0 w 25590270"/>
              <a:gd name="connsiteY0" fmla="*/ 1269999 h 2540000"/>
              <a:gd name="connsiteX1" fmla="*/ 0 w 25590270"/>
              <a:gd name="connsiteY1" fmla="*/ 1270000 h 2540000"/>
              <a:gd name="connsiteX2" fmla="*/ 0 w 25590270"/>
              <a:gd name="connsiteY2" fmla="*/ 1270000 h 2540000"/>
              <a:gd name="connsiteX3" fmla="*/ 1269999 w 25590270"/>
              <a:gd name="connsiteY3" fmla="*/ 0 h 2540000"/>
              <a:gd name="connsiteX4" fmla="*/ 25590270 w 25590270"/>
              <a:gd name="connsiteY4" fmla="*/ 0 h 2540000"/>
              <a:gd name="connsiteX5" fmla="*/ 25590270 w 25590270"/>
              <a:gd name="connsiteY5" fmla="*/ 2540000 h 2540000"/>
              <a:gd name="connsiteX6" fmla="*/ 1269999 w 25590270"/>
              <a:gd name="connsiteY6" fmla="*/ 2539999 h 2540000"/>
              <a:gd name="connsiteX7" fmla="*/ 25801 w 25590270"/>
              <a:gd name="connsiteY7" fmla="*/ 1525949 h 2540000"/>
              <a:gd name="connsiteX8" fmla="*/ 0 w 25590270"/>
              <a:gd name="connsiteY8" fmla="*/ 1270000 h 2540000"/>
              <a:gd name="connsiteX9" fmla="*/ 25801 w 25590270"/>
              <a:gd name="connsiteY9" fmla="*/ 1014051 h 2540000"/>
              <a:gd name="connsiteX10" fmla="*/ 1269999 w 25590270"/>
              <a:gd name="connsiteY10" fmla="*/ 0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590270" h="2540000">
                <a:moveTo>
                  <a:pt x="0" y="1269999"/>
                </a:moveTo>
                <a:lnTo>
                  <a:pt x="0" y="1270000"/>
                </a:lnTo>
                <a:lnTo>
                  <a:pt x="0" y="1270000"/>
                </a:lnTo>
                <a:close/>
                <a:moveTo>
                  <a:pt x="1269999" y="0"/>
                </a:moveTo>
                <a:lnTo>
                  <a:pt x="25590270" y="0"/>
                </a:lnTo>
                <a:lnTo>
                  <a:pt x="25590270" y="2540000"/>
                </a:lnTo>
                <a:lnTo>
                  <a:pt x="1269999" y="2539999"/>
                </a:lnTo>
                <a:cubicBezTo>
                  <a:pt x="656273" y="2539999"/>
                  <a:pt x="144224" y="2104666"/>
                  <a:pt x="25801" y="1525949"/>
                </a:cubicBezTo>
                <a:lnTo>
                  <a:pt x="0" y="1270000"/>
                </a:lnTo>
                <a:lnTo>
                  <a:pt x="25801" y="1014051"/>
                </a:lnTo>
                <a:cubicBezTo>
                  <a:pt x="144224" y="435333"/>
                  <a:pt x="656273" y="0"/>
                  <a:pt x="1269999" y="0"/>
                </a:cubicBezTo>
                <a:close/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2848502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ma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A6149-122D-7A14-2AB6-5EB3D4C1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Roadmap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371C55-15DF-941E-8C8D-1EBB588343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3E9CB17B-066C-BBE4-A8A2-BE1A9CCAC5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F911378-1BBC-64E8-E839-E4E63372C657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40BADB3-200F-4527-3BC2-A0488C0FBE0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E15D5B3F-FD2E-F294-EB65-00B62149821A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31EBB512-DD1B-9F09-D765-782FCC8B6AEE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A6367331-06A6-E2F0-D460-2DDC28A46694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DBB9AD2-6A8D-AB1A-591D-F5EA102D45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C80B1A9-9ABB-8D55-19D2-29806F8DEE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A46B5E1-FA61-1995-2669-E4C90EFD0B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09E260A5-506E-7641-8463-F04273E1F3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520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A8A7F279-5724-E84E-339C-995BBD01A3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4520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22CAA125-67EB-C6D3-71E9-9EE66C4664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70338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6EFC5BBC-0FF1-338A-00CF-FB936BC04D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70338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3777F3B6-9D67-86F3-ABF7-4C15691D19A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90109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7AB228CD-4D8C-A10F-0A5C-888837C0483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0109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1FDFFAE-0B97-B77D-2B44-669A8D302AA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0567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0D28C0C4-BC1F-38D2-E5C5-3EB3382738D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50567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87FF090A-8795-BD80-5976-1A20274FC7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30795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CF00253-E1D9-9A22-EA90-897E0998900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30795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7432110-13EA-EB99-5F95-2A017A267AC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11024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24AA2FE2-DB96-AB8F-683E-D43DD4D210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211025" y="2229637"/>
            <a:ext cx="1790569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692697FE-A5EF-25DF-1969-FDA6EC001DB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49576" y="5426930"/>
            <a:ext cx="2963624" cy="9172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 2024 году планируем выйти </a:t>
            </a:r>
            <a:br>
              <a:rPr lang="ru-RU" dirty="0"/>
            </a:br>
            <a:r>
              <a:rPr lang="ru-RU" dirty="0"/>
              <a:t>на рынок Азии и повысить </a:t>
            </a:r>
            <a:r>
              <a:rPr lang="en-GB" dirty="0"/>
              <a:t>KPI </a:t>
            </a:r>
            <a:br>
              <a:rPr lang="ru-RU" dirty="0"/>
            </a:br>
            <a:r>
              <a:rPr lang="ru-RU" dirty="0"/>
              <a:t>на 30%.</a:t>
            </a:r>
            <a:endParaRPr lang="en-RU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9212BF7B-9D1A-AAAE-63A8-A7DFCF2F252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94519" y="2921221"/>
            <a:ext cx="1023716" cy="102377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19</a:t>
            </a:r>
            <a:endParaRPr lang="en-RU" dirty="0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00E6222-5C47-E874-75F2-88ACCA223CE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290109" y="2921221"/>
            <a:ext cx="1023716" cy="102377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0</a:t>
            </a:r>
            <a:endParaRPr lang="en-RU" dirty="0"/>
          </a:p>
        </p:txBody>
      </p:sp>
      <p:sp>
        <p:nvSpPr>
          <p:cNvPr id="40" name="Text Placeholder 36">
            <a:extLst>
              <a:ext uri="{FF2B5EF4-FFF2-40B4-BE49-F238E27FC236}">
                <a16:creationId xmlns:a16="http://schemas.microsoft.com/office/drawing/2014/main" id="{6CFB39BC-450C-4B5D-6926-D17F638292A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0338" y="2921221"/>
            <a:ext cx="1023716" cy="102377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1</a:t>
            </a:r>
            <a:endParaRPr lang="en-RU" dirty="0"/>
          </a:p>
        </p:txBody>
      </p:sp>
      <p:sp>
        <p:nvSpPr>
          <p:cNvPr id="41" name="Text Placeholder 36">
            <a:extLst>
              <a:ext uri="{FF2B5EF4-FFF2-40B4-BE49-F238E27FC236}">
                <a16:creationId xmlns:a16="http://schemas.microsoft.com/office/drawing/2014/main" id="{EE27E97D-A741-8573-74DD-7B31353B37C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50566" y="2921221"/>
            <a:ext cx="1023716" cy="102377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2</a:t>
            </a:r>
            <a:endParaRPr lang="en-RU" dirty="0"/>
          </a:p>
        </p:txBody>
      </p:sp>
      <p:sp>
        <p:nvSpPr>
          <p:cNvPr id="42" name="Text Placeholder 36">
            <a:extLst>
              <a:ext uri="{FF2B5EF4-FFF2-40B4-BE49-F238E27FC236}">
                <a16:creationId xmlns:a16="http://schemas.microsoft.com/office/drawing/2014/main" id="{EC19E6BC-9BE4-AAD1-26F9-0B048E4C5DE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230795" y="2921221"/>
            <a:ext cx="1023716" cy="1023772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3</a:t>
            </a:r>
            <a:endParaRPr lang="en-RU" dirty="0"/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1DF22A9F-A8D1-3219-A9DD-EE9BA4B730F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211024" y="2921221"/>
            <a:ext cx="1023716" cy="1023772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4</a:t>
            </a:r>
            <a:endParaRPr lang="en-RU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CEEA814-F8FB-713A-2152-33DD38D3E06D}"/>
              </a:ext>
            </a:extLst>
          </p:cNvPr>
          <p:cNvSpPr/>
          <p:nvPr/>
        </p:nvSpPr>
        <p:spPr>
          <a:xfrm>
            <a:off x="-46081" y="2835595"/>
            <a:ext cx="12273068" cy="1194774"/>
          </a:xfrm>
          <a:custGeom>
            <a:avLst/>
            <a:gdLst>
              <a:gd name="connsiteX0" fmla="*/ 0 w 26093055"/>
              <a:gd name="connsiteY0" fmla="*/ 0 h 2540000"/>
              <a:gd name="connsiteX1" fmla="*/ 26093055 w 26093055"/>
              <a:gd name="connsiteY1" fmla="*/ 0 h 2540000"/>
              <a:gd name="connsiteX2" fmla="*/ 26093055 w 26093055"/>
              <a:gd name="connsiteY2" fmla="*/ 2540000 h 2540000"/>
              <a:gd name="connsiteX3" fmla="*/ 0 w 26093055"/>
              <a:gd name="connsiteY3" fmla="*/ 2539999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93055" h="2540000">
                <a:moveTo>
                  <a:pt x="0" y="0"/>
                </a:moveTo>
                <a:lnTo>
                  <a:pt x="26093055" y="0"/>
                </a:lnTo>
                <a:lnTo>
                  <a:pt x="26093055" y="2540000"/>
                </a:lnTo>
                <a:lnTo>
                  <a:pt x="0" y="2539999"/>
                </a:lnTo>
                <a:close/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588221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adma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DA6149-122D-7A14-2AB6-5EB3D4C1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Roadmap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371C55-15DF-941E-8C8D-1EBB588343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" name="Text Placeholder 23">
            <a:extLst>
              <a:ext uri="{FF2B5EF4-FFF2-40B4-BE49-F238E27FC236}">
                <a16:creationId xmlns:a16="http://schemas.microsoft.com/office/drawing/2014/main" id="{3E9CB17B-066C-BBE4-A8A2-BE1A9CCAC5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F911378-1BBC-64E8-E839-E4E63372C657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40BADB3-200F-4527-3BC2-A0488C0FBE0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E15D5B3F-FD2E-F294-EB65-00B62149821A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31EBB512-DD1B-9F09-D765-782FCC8B6AEE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A6367331-06A6-E2F0-D460-2DDC28A46694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DBB9AD2-6A8D-AB1A-591D-F5EA102D453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7" y="6507468"/>
            <a:ext cx="174841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C80B1A9-9ABB-8D55-19D2-29806F8DEE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20732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A46B5E1-FA61-1995-2669-E4C90EFD0B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51878" y="6507468"/>
            <a:ext cx="1771155" cy="20342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80000"/>
              </a:lnSpc>
              <a:buFontTx/>
              <a:buNone/>
              <a:defRPr sz="753" b="0" i="0" spc="33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Место под сноску </a:t>
            </a:r>
            <a:br>
              <a:rPr lang="ru-RU" dirty="0"/>
            </a:br>
            <a:r>
              <a:rPr lang="ru-RU" dirty="0"/>
              <a:t>или под источник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09E260A5-506E-7641-8463-F04273E1F3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520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A8A7F279-5724-E84E-339C-995BBD01A3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4520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22CAA125-67EB-C6D3-71E9-9EE66C4664D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70338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6EFC5BBC-0FF1-338A-00CF-FB936BC04DF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70338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3777F3B6-9D67-86F3-ABF7-4C15691D19A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290109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7AB228CD-4D8C-A10F-0A5C-888837C0483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290109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B1FDFFAE-0B97-B77D-2B44-669A8D302AA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50567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0D28C0C4-BC1F-38D2-E5C5-3EB3382738D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50567" y="2229637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87FF090A-8795-BD80-5976-1A20274FC7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230795" y="4195808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ACF00253-E1D9-9A22-EA90-897E0998900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30795" y="4397434"/>
            <a:ext cx="1760702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D7432110-13EA-EB99-5F95-2A017A267AC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211024" y="2028011"/>
            <a:ext cx="1760702" cy="201626"/>
          </a:xfrm>
          <a:prstGeom prst="rect">
            <a:avLst/>
          </a:prstGeom>
        </p:spPr>
        <p:txBody>
          <a:bodyPr lIns="108000" tIns="0" rIns="0" bIns="0"/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Шаг 1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24AA2FE2-DB96-AB8F-683E-D43DD4D210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211025" y="2229637"/>
            <a:ext cx="1790569" cy="610182"/>
          </a:xfrm>
          <a:prstGeom prst="rect">
            <a:avLst/>
          </a:prstGeom>
        </p:spPr>
        <p:txBody>
          <a:bodyPr lIns="108000" tIns="0" rIns="0" bIns="0">
            <a:normAutofit/>
          </a:bodyPr>
          <a:lstStyle>
            <a:lvl1pPr marL="0" indent="0">
              <a:buFontTx/>
              <a:buNone/>
              <a:defRPr sz="988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Количество пользователей, присоединившихся в этом году в </a:t>
            </a:r>
            <a:r>
              <a:rPr lang="ru-RU" dirty="0" err="1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сервисву</a:t>
            </a:r>
            <a:r>
              <a:rPr lang="ru-RU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 </a:t>
            </a:r>
            <a:r>
              <a:rPr lang="en-GB" dirty="0">
                <a:solidFill>
                  <a:srgbClr val="000000"/>
                </a:solidFill>
                <a:effectLst/>
                <a:latin typeface="MTS Text" panose="020B0306020102020303" pitchFamily="34" charset="0"/>
              </a:rPr>
              <a:t>KION.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692697FE-A5EF-25DF-1969-FDA6EC001DB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49576" y="5426930"/>
            <a:ext cx="2963624" cy="9172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buFontTx/>
              <a:buNone/>
              <a:defRPr sz="1317" b="0" i="0" spc="47" baseline="0">
                <a:solidFill>
                  <a:schemeClr val="tx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К 2024 году планируем выйти </a:t>
            </a:r>
            <a:br>
              <a:rPr lang="ru-RU" dirty="0"/>
            </a:br>
            <a:r>
              <a:rPr lang="ru-RU" dirty="0"/>
              <a:t>на рынок Азии и повысить </a:t>
            </a:r>
            <a:r>
              <a:rPr lang="en-GB" dirty="0"/>
              <a:t>KPI </a:t>
            </a:r>
            <a:br>
              <a:rPr lang="ru-RU" dirty="0"/>
            </a:br>
            <a:r>
              <a:rPr lang="ru-RU" dirty="0"/>
              <a:t>на 30%.</a:t>
            </a:r>
            <a:endParaRPr lang="en-RU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9212BF7B-9D1A-AAAE-63A8-A7DFCF2F252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94519" y="2921221"/>
            <a:ext cx="1023716" cy="10237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19</a:t>
            </a:r>
            <a:endParaRPr lang="en-RU" dirty="0"/>
          </a:p>
        </p:txBody>
      </p:sp>
      <p:sp>
        <p:nvSpPr>
          <p:cNvPr id="39" name="Text Placeholder 36">
            <a:extLst>
              <a:ext uri="{FF2B5EF4-FFF2-40B4-BE49-F238E27FC236}">
                <a16:creationId xmlns:a16="http://schemas.microsoft.com/office/drawing/2014/main" id="{500E6222-5C47-E874-75F2-88ACCA223CE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290109" y="2921221"/>
            <a:ext cx="1023716" cy="10237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0</a:t>
            </a:r>
            <a:endParaRPr lang="en-RU" dirty="0"/>
          </a:p>
        </p:txBody>
      </p:sp>
      <p:sp>
        <p:nvSpPr>
          <p:cNvPr id="40" name="Text Placeholder 36">
            <a:extLst>
              <a:ext uri="{FF2B5EF4-FFF2-40B4-BE49-F238E27FC236}">
                <a16:creationId xmlns:a16="http://schemas.microsoft.com/office/drawing/2014/main" id="{6CFB39BC-450C-4B5D-6926-D17F638292A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270338" y="2921221"/>
            <a:ext cx="1023716" cy="10237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1</a:t>
            </a:r>
            <a:endParaRPr lang="en-RU" dirty="0"/>
          </a:p>
        </p:txBody>
      </p:sp>
      <p:sp>
        <p:nvSpPr>
          <p:cNvPr id="41" name="Text Placeholder 36">
            <a:extLst>
              <a:ext uri="{FF2B5EF4-FFF2-40B4-BE49-F238E27FC236}">
                <a16:creationId xmlns:a16="http://schemas.microsoft.com/office/drawing/2014/main" id="{EE27E97D-A741-8573-74DD-7B31353B37C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50566" y="2921221"/>
            <a:ext cx="1023716" cy="102377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2</a:t>
            </a:r>
            <a:endParaRPr lang="en-RU" dirty="0"/>
          </a:p>
        </p:txBody>
      </p:sp>
      <p:sp>
        <p:nvSpPr>
          <p:cNvPr id="42" name="Text Placeholder 36">
            <a:extLst>
              <a:ext uri="{FF2B5EF4-FFF2-40B4-BE49-F238E27FC236}">
                <a16:creationId xmlns:a16="http://schemas.microsoft.com/office/drawing/2014/main" id="{EC19E6BC-9BE4-AAD1-26F9-0B048E4C5DE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230795" y="2921221"/>
            <a:ext cx="1023716" cy="1023772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3</a:t>
            </a:r>
            <a:endParaRPr lang="en-RU" dirty="0"/>
          </a:p>
        </p:txBody>
      </p:sp>
      <p:sp>
        <p:nvSpPr>
          <p:cNvPr id="43" name="Text Placeholder 36">
            <a:extLst>
              <a:ext uri="{FF2B5EF4-FFF2-40B4-BE49-F238E27FC236}">
                <a16:creationId xmlns:a16="http://schemas.microsoft.com/office/drawing/2014/main" id="{1DF22A9F-A8D1-3219-A9DD-EE9BA4B730F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211024" y="2921221"/>
            <a:ext cx="1023716" cy="1023772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algn="ctr">
              <a:defRPr sz="1317" b="0" i="0"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pPr lvl="0"/>
            <a:r>
              <a:rPr lang="ru-RU" dirty="0"/>
              <a:t>2024</a:t>
            </a:r>
            <a:endParaRPr lang="en-RU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F7BD30A-CFB7-8EB6-C338-8A46B9F9C703}"/>
              </a:ext>
            </a:extLst>
          </p:cNvPr>
          <p:cNvSpPr/>
          <p:nvPr/>
        </p:nvSpPr>
        <p:spPr>
          <a:xfrm>
            <a:off x="-46081" y="2835595"/>
            <a:ext cx="11386745" cy="1194774"/>
          </a:xfrm>
          <a:custGeom>
            <a:avLst/>
            <a:gdLst>
              <a:gd name="connsiteX0" fmla="*/ 0 w 24208695"/>
              <a:gd name="connsiteY0" fmla="*/ 0 h 2540000"/>
              <a:gd name="connsiteX1" fmla="*/ 22938695 w 24208695"/>
              <a:gd name="connsiteY1" fmla="*/ 0 h 2540000"/>
              <a:gd name="connsiteX2" fmla="*/ 24208695 w 24208695"/>
              <a:gd name="connsiteY2" fmla="*/ 1270000 h 2540000"/>
              <a:gd name="connsiteX3" fmla="*/ 22938695 w 24208695"/>
              <a:gd name="connsiteY3" fmla="*/ 2540000 h 2540000"/>
              <a:gd name="connsiteX4" fmla="*/ 0 w 24208695"/>
              <a:gd name="connsiteY4" fmla="*/ 2539999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08695" h="2540000">
                <a:moveTo>
                  <a:pt x="0" y="0"/>
                </a:moveTo>
                <a:lnTo>
                  <a:pt x="22938695" y="0"/>
                </a:lnTo>
                <a:cubicBezTo>
                  <a:pt x="23640099" y="0"/>
                  <a:pt x="24208695" y="568598"/>
                  <a:pt x="24208695" y="1270000"/>
                </a:cubicBezTo>
                <a:cubicBezTo>
                  <a:pt x="24208695" y="1971402"/>
                  <a:pt x="23640095" y="2540000"/>
                  <a:pt x="22938695" y="2540000"/>
                </a:cubicBezTo>
                <a:lnTo>
                  <a:pt x="0" y="2539999"/>
                </a:lnTo>
                <a:close/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0653097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E092CE97-E07B-AF30-8CFA-6095FF1601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1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1"/>
            <a:ext cx="5905593" cy="735671"/>
          </a:xfrm>
        </p:spPr>
        <p:txBody>
          <a:bodyPr/>
          <a:lstStyle/>
          <a:p>
            <a:r>
              <a:rPr lang="ru-RU" dirty="0"/>
              <a:t>Карта</a:t>
            </a:r>
            <a:endParaRPr lang="en-RU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6F18BE4-98DB-A5D1-2442-6F7ED2D121F2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6EFDE7B-E6D6-E8D4-5348-1F4937C35A5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E524D55A-1204-6030-6601-0422D5022D8B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F4B9648-F8CC-062C-58C0-7F0E7DAB5730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9C99593C-354C-E1E2-F3E7-86EA35C1FC23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638E754C-00A4-F732-1988-DD729D62A6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407" y="1839131"/>
            <a:ext cx="2370750" cy="9294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писание</a:t>
            </a:r>
          </a:p>
        </p:txBody>
      </p:sp>
    </p:spTree>
    <p:extLst>
      <p:ext uri="{BB962C8B-B14F-4D97-AF65-F5344CB8AC3E}">
        <p14:creationId xmlns:p14="http://schemas.microsoft.com/office/powerpoint/2010/main" val="107305808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E092CE97-E07B-AF30-8CFA-6095FF1601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1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1"/>
            <a:ext cx="5905593" cy="735671"/>
          </a:xfrm>
        </p:spPr>
        <p:txBody>
          <a:bodyPr/>
          <a:lstStyle/>
          <a:p>
            <a:r>
              <a:rPr lang="ru-RU" dirty="0"/>
              <a:t>Карта</a:t>
            </a:r>
            <a:endParaRPr lang="en-RU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6F18BE4-98DB-A5D1-2442-6F7ED2D121F2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6EFDE7B-E6D6-E8D4-5348-1F4937C35A5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E524D55A-1204-6030-6601-0422D5022D8B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F4B9648-F8CC-062C-58C0-7F0E7DAB5730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9C99593C-354C-E1E2-F3E7-86EA35C1FC23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638E754C-00A4-F732-1988-DD729D62A6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407" y="1839131"/>
            <a:ext cx="2370750" cy="9294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писание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A342634-CE53-608F-0639-267744F0FE4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63446" y="1304544"/>
            <a:ext cx="2394644" cy="1534537"/>
          </a:xfrm>
          <a:solidFill>
            <a:srgbClr val="2B2B2B"/>
          </a:solidFill>
        </p:spPr>
        <p:txBody>
          <a:bodyPr lIns="360000" tIns="360000" rIns="360000">
            <a:normAutofit/>
          </a:bodyPr>
          <a:lstStyle>
            <a:lvl1pPr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pPr lvl="0"/>
            <a:r>
              <a:rPr lang="ru-RU" dirty="0"/>
              <a:t>Текст об особенностях местности, немного фактов и информации.</a:t>
            </a:r>
            <a:endParaRPr lang="en-RU" dirty="0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019ADDC9-35B5-242B-E5D4-FD05E2A9273D}"/>
              </a:ext>
            </a:extLst>
          </p:cNvPr>
          <p:cNvSpPr>
            <a:spLocks noGrp="1"/>
          </p:cNvSpPr>
          <p:nvPr>
            <p:ph type="tbl" sz="quarter" idx="29" hasCustomPrompt="1"/>
          </p:nvPr>
        </p:nvSpPr>
        <p:spPr>
          <a:xfrm>
            <a:off x="5149941" y="2839081"/>
            <a:ext cx="21654" cy="458494"/>
          </a:xfrm>
          <a:solidFill>
            <a:srgbClr val="2B2B2B"/>
          </a:solidFill>
          <a:ln w="12700">
            <a:noFill/>
          </a:ln>
        </p:spPr>
        <p:txBody>
          <a:bodyPr/>
          <a:lstStyle/>
          <a:p>
            <a:r>
              <a:rPr lang="ru-RU" dirty="0"/>
              <a:t> </a:t>
            </a:r>
            <a:endParaRPr lang="en-RU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F7B6A51-66B4-7BDD-1640-E95DB37A26C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160390" y="2081542"/>
            <a:ext cx="807922" cy="565277"/>
          </a:xfrm>
        </p:spPr>
        <p:txBody>
          <a:bodyPr/>
          <a:lstStyle/>
          <a:p>
            <a:r>
              <a:rPr lang="ru-RU" dirty="0"/>
              <a:t> </a:t>
            </a:r>
            <a:endParaRPr lang="en-RU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4E5AB057-10E2-F0EB-E98B-52D9A51F796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74111" y="2648664"/>
            <a:ext cx="2394644" cy="1534537"/>
          </a:xfrm>
          <a:solidFill>
            <a:srgbClr val="2B2B2B"/>
          </a:solidFill>
        </p:spPr>
        <p:txBody>
          <a:bodyPr lIns="360000" tIns="360000" rIns="360000">
            <a:normAutofit/>
          </a:bodyPr>
          <a:lstStyle>
            <a:lvl1pPr>
              <a:defRPr sz="988" b="0" i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pPr lvl="0"/>
            <a:r>
              <a:rPr lang="ru-RU" dirty="0"/>
              <a:t>Текст об особенностях местности, немного фактов и информации.</a:t>
            </a:r>
            <a:endParaRPr lang="en-RU" dirty="0"/>
          </a:p>
        </p:txBody>
      </p:sp>
      <p:sp>
        <p:nvSpPr>
          <p:cNvPr id="4" name="Table Placeholder 10">
            <a:extLst>
              <a:ext uri="{FF2B5EF4-FFF2-40B4-BE49-F238E27FC236}">
                <a16:creationId xmlns:a16="http://schemas.microsoft.com/office/drawing/2014/main" id="{609ACFF8-CFD2-D3A3-3916-D9B90E2B6EBA}"/>
              </a:ext>
            </a:extLst>
          </p:cNvPr>
          <p:cNvSpPr>
            <a:spLocks noGrp="1"/>
          </p:cNvSpPr>
          <p:nvPr>
            <p:ph type="tbl" sz="quarter" idx="32" hasCustomPrompt="1"/>
          </p:nvPr>
        </p:nvSpPr>
        <p:spPr>
          <a:xfrm>
            <a:off x="8160606" y="4183201"/>
            <a:ext cx="21654" cy="458494"/>
          </a:xfrm>
          <a:solidFill>
            <a:srgbClr val="2B2B2B"/>
          </a:solidFill>
          <a:ln w="12700">
            <a:noFill/>
          </a:ln>
        </p:spPr>
        <p:txBody>
          <a:bodyPr/>
          <a:lstStyle/>
          <a:p>
            <a:r>
              <a:rPr lang="ru-RU" dirty="0"/>
              <a:t> </a:t>
            </a:r>
            <a:endParaRPr lang="en-RU" dirty="0"/>
          </a:p>
        </p:txBody>
      </p:sp>
      <p:sp>
        <p:nvSpPr>
          <p:cNvPr id="8" name="Picture Placeholder 18">
            <a:extLst>
              <a:ext uri="{FF2B5EF4-FFF2-40B4-BE49-F238E27FC236}">
                <a16:creationId xmlns:a16="http://schemas.microsoft.com/office/drawing/2014/main" id="{9B4A871E-0E85-3E13-886A-D8482B3A9C5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171055" y="3417982"/>
            <a:ext cx="807922" cy="565277"/>
          </a:xfrm>
        </p:spPr>
        <p:txBody>
          <a:bodyPr/>
          <a:lstStyle/>
          <a:p>
            <a:r>
              <a:rPr lang="ru-RU" dirty="0"/>
              <a:t> 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432568822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E092CE97-E07B-AF30-8CFA-6095FF16014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1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2045CB0-5DF7-8067-8B7D-96EC8A535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0407" y="784081"/>
            <a:ext cx="5905593" cy="735671"/>
          </a:xfrm>
        </p:spPr>
        <p:txBody>
          <a:bodyPr/>
          <a:lstStyle/>
          <a:p>
            <a:r>
              <a:rPr lang="ru-RU" dirty="0"/>
              <a:t>Карта</a:t>
            </a:r>
            <a:endParaRPr lang="en-RU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6F18BE4-98DB-A5D1-2442-6F7ED2D121F2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6EFDE7B-E6D6-E8D4-5348-1F4937C35A5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E524D55A-1204-6030-6601-0422D5022D8B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3F4B9648-F8CC-062C-58C0-7F0E7DAB5730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9C99593C-354C-E1E2-F3E7-86EA35C1FC23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638E754C-00A4-F732-1988-DD729D62A6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407" y="1839131"/>
            <a:ext cx="2370750" cy="92940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0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marL="0" marR="0" lvl="0" indent="0" algn="l" defTabSz="9675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писание</a:t>
            </a:r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019ADDC9-35B5-242B-E5D4-FD05E2A9273D}"/>
              </a:ext>
            </a:extLst>
          </p:cNvPr>
          <p:cNvSpPr>
            <a:spLocks noGrp="1"/>
          </p:cNvSpPr>
          <p:nvPr>
            <p:ph type="tbl" sz="quarter" idx="29" hasCustomPrompt="1"/>
          </p:nvPr>
        </p:nvSpPr>
        <p:spPr>
          <a:xfrm>
            <a:off x="5149941" y="2839081"/>
            <a:ext cx="21654" cy="458494"/>
          </a:xfrm>
          <a:solidFill>
            <a:schemeClr val="accent6"/>
          </a:solidFill>
          <a:ln w="12700">
            <a:noFill/>
          </a:ln>
        </p:spPr>
        <p:txBody>
          <a:bodyPr/>
          <a:lstStyle/>
          <a:p>
            <a:r>
              <a:rPr lang="ru-RU" dirty="0"/>
              <a:t> </a:t>
            </a:r>
            <a:endParaRPr lang="en-RU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BD216EA-3425-4AC2-BFAC-2D2174C8C29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37414" y="2148339"/>
            <a:ext cx="2846708" cy="1000650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</p:spPr>
        <p:txBody>
          <a:bodyPr wrap="none" lIns="360000" tIns="251999" rIns="360000" bIns="251999" anchor="ctr">
            <a:spAutoFit/>
          </a:bodyPr>
          <a:lstStyle>
            <a:lvl1pPr algn="ctr">
              <a:defRPr sz="1317" b="0" i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algn="ctr">
              <a:defRPr sz="1317"/>
            </a:lvl2pPr>
            <a:lvl3pPr algn="ctr">
              <a:defRPr sz="1317"/>
            </a:lvl3pPr>
            <a:lvl4pPr algn="ctr">
              <a:defRPr sz="1317"/>
            </a:lvl4pPr>
            <a:lvl5pPr algn="ctr">
              <a:defRPr sz="1317"/>
            </a:lvl5pPr>
          </a:lstStyle>
          <a:p>
            <a:pPr lvl="0"/>
            <a:r>
              <a:rPr lang="ru-RU" dirty="0"/>
              <a:t>19 млн пользователей</a:t>
            </a:r>
            <a:endParaRPr lang="en-RU" dirty="0"/>
          </a:p>
        </p:txBody>
      </p:sp>
      <p:sp>
        <p:nvSpPr>
          <p:cNvPr id="20" name="Table Placeholder 10">
            <a:extLst>
              <a:ext uri="{FF2B5EF4-FFF2-40B4-BE49-F238E27FC236}">
                <a16:creationId xmlns:a16="http://schemas.microsoft.com/office/drawing/2014/main" id="{14E4AEDA-DFA6-DE8B-D4B9-A56136C53071}"/>
              </a:ext>
            </a:extLst>
          </p:cNvPr>
          <p:cNvSpPr>
            <a:spLocks noGrp="1"/>
          </p:cNvSpPr>
          <p:nvPr>
            <p:ph type="tbl" sz="quarter" idx="35" hasCustomPrompt="1"/>
          </p:nvPr>
        </p:nvSpPr>
        <p:spPr>
          <a:xfrm>
            <a:off x="6735916" y="5097203"/>
            <a:ext cx="21654" cy="458494"/>
          </a:xfrm>
          <a:solidFill>
            <a:schemeClr val="accent6"/>
          </a:solidFill>
          <a:ln w="12700">
            <a:noFill/>
          </a:ln>
        </p:spPr>
        <p:txBody>
          <a:bodyPr/>
          <a:lstStyle/>
          <a:p>
            <a:r>
              <a:rPr lang="ru-RU" dirty="0"/>
              <a:t> </a:t>
            </a:r>
            <a:endParaRPr lang="en-RU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345810F-8DFE-B76F-37C2-4A0B2A51DDE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46728" y="4406461"/>
            <a:ext cx="2800030" cy="10006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50800">
            <a:solidFill>
              <a:schemeClr val="accent6"/>
            </a:solidFill>
          </a:ln>
        </p:spPr>
        <p:txBody>
          <a:bodyPr wrap="none" lIns="360000" tIns="251999" rIns="360000" bIns="251999" anchor="ctr">
            <a:spAutoFit/>
          </a:bodyPr>
          <a:lstStyle>
            <a:lvl1pPr algn="ctr">
              <a:defRPr sz="13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algn="ctr">
              <a:defRPr sz="1317"/>
            </a:lvl2pPr>
            <a:lvl3pPr algn="ctr">
              <a:defRPr sz="1317"/>
            </a:lvl3pPr>
            <a:lvl4pPr algn="ctr">
              <a:defRPr sz="1317"/>
            </a:lvl4pPr>
            <a:lvl5pPr algn="ctr">
              <a:defRPr sz="1317"/>
            </a:lvl5pPr>
          </a:lstStyle>
          <a:p>
            <a:pPr lvl="0"/>
            <a:r>
              <a:rPr lang="ru-RU" dirty="0"/>
              <a:t>6 млн пользователей</a:t>
            </a:r>
            <a:endParaRPr lang="en-RU" dirty="0"/>
          </a:p>
        </p:txBody>
      </p:sp>
      <p:sp>
        <p:nvSpPr>
          <p:cNvPr id="22" name="Table Placeholder 10">
            <a:extLst>
              <a:ext uri="{FF2B5EF4-FFF2-40B4-BE49-F238E27FC236}">
                <a16:creationId xmlns:a16="http://schemas.microsoft.com/office/drawing/2014/main" id="{D2DA40FF-623D-D260-6EC4-038E94C79A7B}"/>
              </a:ext>
            </a:extLst>
          </p:cNvPr>
          <p:cNvSpPr>
            <a:spLocks noGrp="1"/>
          </p:cNvSpPr>
          <p:nvPr>
            <p:ph type="tbl" sz="quarter" idx="37" hasCustomPrompt="1"/>
          </p:nvPr>
        </p:nvSpPr>
        <p:spPr>
          <a:xfrm>
            <a:off x="9499277" y="2217447"/>
            <a:ext cx="21654" cy="458494"/>
          </a:xfrm>
          <a:solidFill>
            <a:schemeClr val="accent6"/>
          </a:solidFill>
          <a:ln w="12700">
            <a:noFill/>
          </a:ln>
        </p:spPr>
        <p:txBody>
          <a:bodyPr/>
          <a:lstStyle/>
          <a:p>
            <a:r>
              <a:rPr lang="ru-RU" dirty="0"/>
              <a:t> </a:t>
            </a:r>
            <a:endParaRPr lang="en-RU" dirty="0"/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87947E6B-7D78-62FD-2F07-0CA4A0D3A9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12773" y="1526705"/>
            <a:ext cx="2794662" cy="100065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50800">
            <a:solidFill>
              <a:schemeClr val="accent6"/>
            </a:solidFill>
          </a:ln>
        </p:spPr>
        <p:txBody>
          <a:bodyPr wrap="none" lIns="360000" tIns="251999" rIns="360000" bIns="251999" anchor="ctr">
            <a:spAutoFit/>
          </a:bodyPr>
          <a:lstStyle>
            <a:lvl1pPr algn="ctr">
              <a:defRPr sz="1317" b="0" i="0">
                <a:solidFill>
                  <a:schemeClr val="accent6"/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  <a:lvl2pPr algn="ctr">
              <a:defRPr sz="1317"/>
            </a:lvl2pPr>
            <a:lvl3pPr algn="ctr">
              <a:defRPr sz="1317"/>
            </a:lvl3pPr>
            <a:lvl4pPr algn="ctr">
              <a:defRPr sz="1317"/>
            </a:lvl4pPr>
            <a:lvl5pPr algn="ctr">
              <a:defRPr sz="1317"/>
            </a:lvl5pPr>
          </a:lstStyle>
          <a:p>
            <a:pPr lvl="0"/>
            <a:r>
              <a:rPr lang="ru-RU" dirty="0"/>
              <a:t>2 млн пользователей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158397328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D200A4-C939-E2CE-085D-5BF484B600E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AC69D77-4532-FA58-B251-1AF01FC46E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488917433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заголовком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7D6CB55B-8B87-B2FF-1410-131EA3C949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6B1A584-3E5C-D906-62EE-C17F9C87E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главление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028050773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с заголовко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3D98A05D-6965-2052-67F1-75A028CC09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6F3F6A58-6211-B93A-C5F9-F14103107D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главление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304902862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9">
            <a:extLst>
              <a:ext uri="{FF2B5EF4-FFF2-40B4-BE49-F238E27FC236}">
                <a16:creationId xmlns:a16="http://schemas.microsoft.com/office/drawing/2014/main" id="{B7228398-C859-B5E6-F8FB-AF06CAE08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главление</a:t>
            </a:r>
            <a:endParaRPr lang="en-RU" dirty="0"/>
          </a:p>
        </p:txBody>
      </p:sp>
      <p:sp>
        <p:nvSpPr>
          <p:cNvPr id="2" name="Text Placeholder 23">
            <a:extLst>
              <a:ext uri="{FF2B5EF4-FFF2-40B4-BE49-F238E27FC236}">
                <a16:creationId xmlns:a16="http://schemas.microsoft.com/office/drawing/2014/main" id="{DEBE5DB6-386B-AB8C-7C1F-483BDEDCFD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276737766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-раздел 2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6A53481-9079-F75A-75F0-4180CACEB95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25920701"/>
              <a:gd name="connsiteY0" fmla="*/ 0 h 14579600"/>
              <a:gd name="connsiteX1" fmla="*/ 24282701 w 25920701"/>
              <a:gd name="connsiteY1" fmla="*/ 0 h 14579600"/>
              <a:gd name="connsiteX2" fmla="*/ 24282701 w 25920701"/>
              <a:gd name="connsiteY2" fmla="*/ 816407 h 14579600"/>
              <a:gd name="connsiteX3" fmla="*/ 25103501 w 25920701"/>
              <a:gd name="connsiteY3" fmla="*/ 816407 h 14579600"/>
              <a:gd name="connsiteX4" fmla="*/ 25103501 w 25920701"/>
              <a:gd name="connsiteY4" fmla="*/ 1637206 h 14579600"/>
              <a:gd name="connsiteX5" fmla="*/ 25920701 w 25920701"/>
              <a:gd name="connsiteY5" fmla="*/ 1637206 h 14579600"/>
              <a:gd name="connsiteX6" fmla="*/ 25920701 w 25920701"/>
              <a:gd name="connsiteY6" fmla="*/ 7289801 h 14579600"/>
              <a:gd name="connsiteX7" fmla="*/ 16705263 w 25920701"/>
              <a:gd name="connsiteY7" fmla="*/ 7289801 h 14579600"/>
              <a:gd name="connsiteX8" fmla="*/ 16705263 w 25920701"/>
              <a:gd name="connsiteY8" fmla="*/ 14578013 h 14579600"/>
              <a:gd name="connsiteX9" fmla="*/ 16705264 w 25920701"/>
              <a:gd name="connsiteY9" fmla="*/ 14578013 h 14579600"/>
              <a:gd name="connsiteX10" fmla="*/ 16705264 w 25920701"/>
              <a:gd name="connsiteY10" fmla="*/ 14579600 h 14579600"/>
              <a:gd name="connsiteX11" fmla="*/ 2951165 w 25920701"/>
              <a:gd name="connsiteY11" fmla="*/ 14579600 h 14579600"/>
              <a:gd name="connsiteX12" fmla="*/ 824400 w 25920701"/>
              <a:gd name="connsiteY12" fmla="*/ 14579600 h 14579600"/>
              <a:gd name="connsiteX13" fmla="*/ 0 w 25920701"/>
              <a:gd name="connsiteY13" fmla="*/ 14579600 h 14579600"/>
              <a:gd name="connsiteX14" fmla="*/ 0 w 25920701"/>
              <a:gd name="connsiteY14" fmla="*/ 13755200 h 14579600"/>
              <a:gd name="connsiteX15" fmla="*/ 0 w 25920701"/>
              <a:gd name="connsiteY15" fmla="*/ 12157075 h 1457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5920701" h="14579600">
                <a:moveTo>
                  <a:pt x="0" y="0"/>
                </a:moveTo>
                <a:lnTo>
                  <a:pt x="24282701" y="0"/>
                </a:lnTo>
                <a:lnTo>
                  <a:pt x="24282701" y="816407"/>
                </a:lnTo>
                <a:lnTo>
                  <a:pt x="25103501" y="816407"/>
                </a:lnTo>
                <a:lnTo>
                  <a:pt x="25103501" y="1637206"/>
                </a:lnTo>
                <a:lnTo>
                  <a:pt x="25920701" y="1637206"/>
                </a:lnTo>
                <a:lnTo>
                  <a:pt x="25920701" y="7289801"/>
                </a:lnTo>
                <a:lnTo>
                  <a:pt x="16705263" y="7289801"/>
                </a:lnTo>
                <a:lnTo>
                  <a:pt x="16705263" y="14578013"/>
                </a:lnTo>
                <a:lnTo>
                  <a:pt x="16705264" y="14578013"/>
                </a:lnTo>
                <a:lnTo>
                  <a:pt x="16705264" y="14579600"/>
                </a:lnTo>
                <a:lnTo>
                  <a:pt x="2951165" y="14579600"/>
                </a:lnTo>
                <a:lnTo>
                  <a:pt x="824400" y="14579600"/>
                </a:lnTo>
                <a:lnTo>
                  <a:pt x="0" y="14579600"/>
                </a:lnTo>
                <a:lnTo>
                  <a:pt x="0" y="13755200"/>
                </a:lnTo>
                <a:lnTo>
                  <a:pt x="0" y="1215707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 Medium" panose="020B0306020102020303" pitchFamily="34" charset="0"/>
                <a:ea typeface="MTS Text Medium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 dirty="0"/>
          </a:p>
        </p:txBody>
      </p:sp>
      <p:grpSp>
        <p:nvGrpSpPr>
          <p:cNvPr id="15" name="Graphic 12">
            <a:extLst>
              <a:ext uri="{FF2B5EF4-FFF2-40B4-BE49-F238E27FC236}">
                <a16:creationId xmlns:a16="http://schemas.microsoft.com/office/drawing/2014/main" id="{836474A4-412E-2D1D-1CA0-8ED3881ED400}"/>
              </a:ext>
            </a:extLst>
          </p:cNvPr>
          <p:cNvGrpSpPr/>
          <p:nvPr/>
        </p:nvGrpSpPr>
        <p:grpSpPr>
          <a:xfrm>
            <a:off x="11421554" y="-374"/>
            <a:ext cx="770446" cy="770488"/>
            <a:chOff x="12388850" y="6718300"/>
            <a:chExt cx="1143000" cy="1143000"/>
          </a:xfrm>
        </p:grpSpPr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295C8C1D-A6F1-1F06-7B54-C6A2D6CC38FE}"/>
                </a:ext>
              </a:extLst>
            </p:cNvPr>
            <p:cNvSpPr/>
            <p:nvPr/>
          </p:nvSpPr>
          <p:spPr>
            <a:xfrm>
              <a:off x="12388850" y="6718300"/>
              <a:ext cx="1143000" cy="1143000"/>
            </a:xfrm>
            <a:custGeom>
              <a:avLst/>
              <a:gdLst>
                <a:gd name="connsiteX0" fmla="*/ 0 w 1143000"/>
                <a:gd name="connsiteY0" fmla="*/ 0 h 1143000"/>
                <a:gd name="connsiteX1" fmla="*/ 1143000 w 1143000"/>
                <a:gd name="connsiteY1" fmla="*/ 0 h 1143000"/>
                <a:gd name="connsiteX2" fmla="*/ 1143000 w 1143000"/>
                <a:gd name="connsiteY2" fmla="*/ 1143000 h 1143000"/>
                <a:gd name="connsiteX3" fmla="*/ 571500 w 1143000"/>
                <a:gd name="connsiteY3" fmla="*/ 1143000 h 1143000"/>
                <a:gd name="connsiteX4" fmla="*/ 571500 w 1143000"/>
                <a:gd name="connsiteY4" fmla="*/ 571500 h 1143000"/>
                <a:gd name="connsiteX5" fmla="*/ 0 w 1143000"/>
                <a:gd name="connsiteY5" fmla="*/ 57150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43000" h="1143000">
                  <a:moveTo>
                    <a:pt x="0" y="0"/>
                  </a:moveTo>
                  <a:lnTo>
                    <a:pt x="1143000" y="0"/>
                  </a:lnTo>
                  <a:lnTo>
                    <a:pt x="1143000" y="1143000"/>
                  </a:lnTo>
                  <a:lnTo>
                    <a:pt x="571500" y="1143000"/>
                  </a:lnTo>
                  <a:lnTo>
                    <a:pt x="571500" y="571500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53690BBA-5869-3DBB-4AE0-B2D98B1BABB8}"/>
                </a:ext>
              </a:extLst>
            </p:cNvPr>
            <p:cNvSpPr/>
            <p:nvPr/>
          </p:nvSpPr>
          <p:spPr>
            <a:xfrm>
              <a:off x="13150468" y="6805453"/>
              <a:ext cx="294036" cy="265366"/>
            </a:xfrm>
            <a:custGeom>
              <a:avLst/>
              <a:gdLst>
                <a:gd name="connsiteX0" fmla="*/ 0 w 294036"/>
                <a:gd name="connsiteY0" fmla="*/ 0 h 265366"/>
                <a:gd name="connsiteX1" fmla="*/ 0 w 294036"/>
                <a:gd name="connsiteY1" fmla="*/ 53340 h 265366"/>
                <a:gd name="connsiteX2" fmla="*/ 114871 w 294036"/>
                <a:gd name="connsiteY2" fmla="*/ 53340 h 265366"/>
                <a:gd name="connsiteX3" fmla="*/ 114871 w 294036"/>
                <a:gd name="connsiteY3" fmla="*/ 261938 h 265366"/>
                <a:gd name="connsiteX4" fmla="*/ 114871 w 294036"/>
                <a:gd name="connsiteY4" fmla="*/ 265367 h 265366"/>
                <a:gd name="connsiteX5" fmla="*/ 179165 w 294036"/>
                <a:gd name="connsiteY5" fmla="*/ 265367 h 265366"/>
                <a:gd name="connsiteX6" fmla="*/ 179165 w 294036"/>
                <a:gd name="connsiteY6" fmla="*/ 53340 h 265366"/>
                <a:gd name="connsiteX7" fmla="*/ 294037 w 294036"/>
                <a:gd name="connsiteY7" fmla="*/ 53340 h 265366"/>
                <a:gd name="connsiteX8" fmla="*/ 294037 w 294036"/>
                <a:gd name="connsiteY8" fmla="*/ 0 h 265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4036" h="265366">
                  <a:moveTo>
                    <a:pt x="0" y="0"/>
                  </a:moveTo>
                  <a:lnTo>
                    <a:pt x="0" y="53340"/>
                  </a:lnTo>
                  <a:lnTo>
                    <a:pt x="114871" y="53340"/>
                  </a:lnTo>
                  <a:lnTo>
                    <a:pt x="114871" y="261938"/>
                  </a:lnTo>
                  <a:lnTo>
                    <a:pt x="114871" y="265367"/>
                  </a:lnTo>
                  <a:lnTo>
                    <a:pt x="179165" y="265367"/>
                  </a:lnTo>
                  <a:lnTo>
                    <a:pt x="179165" y="53340"/>
                  </a:lnTo>
                  <a:lnTo>
                    <a:pt x="294037" y="53340"/>
                  </a:lnTo>
                  <a:lnTo>
                    <a:pt x="294037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DC51545-FADD-8B22-BE63-4252EE549BB7}"/>
                </a:ext>
              </a:extLst>
            </p:cNvPr>
            <p:cNvSpPr/>
            <p:nvPr/>
          </p:nvSpPr>
          <p:spPr>
            <a:xfrm>
              <a:off x="12476956" y="6806215"/>
              <a:ext cx="351567" cy="263747"/>
            </a:xfrm>
            <a:custGeom>
              <a:avLst/>
              <a:gdLst>
                <a:gd name="connsiteX0" fmla="*/ 259747 w 351567"/>
                <a:gd name="connsiteY0" fmla="*/ 0 h 263747"/>
                <a:gd name="connsiteX1" fmla="*/ 175736 w 351567"/>
                <a:gd name="connsiteY1" fmla="*/ 174498 h 263747"/>
                <a:gd name="connsiteX2" fmla="*/ 91726 w 351567"/>
                <a:gd name="connsiteY2" fmla="*/ 0 h 263747"/>
                <a:gd name="connsiteX3" fmla="*/ 0 w 351567"/>
                <a:gd name="connsiteY3" fmla="*/ 0 h 263747"/>
                <a:gd name="connsiteX4" fmla="*/ 0 w 351567"/>
                <a:gd name="connsiteY4" fmla="*/ 263747 h 263747"/>
                <a:gd name="connsiteX5" fmla="*/ 64294 w 351567"/>
                <a:gd name="connsiteY5" fmla="*/ 263747 h 263747"/>
                <a:gd name="connsiteX6" fmla="*/ 64294 w 351567"/>
                <a:gd name="connsiteY6" fmla="*/ 74962 h 263747"/>
                <a:gd name="connsiteX7" fmla="*/ 146399 w 351567"/>
                <a:gd name="connsiteY7" fmla="*/ 234505 h 263747"/>
                <a:gd name="connsiteX8" fmla="*/ 205073 w 351567"/>
                <a:gd name="connsiteY8" fmla="*/ 234505 h 263747"/>
                <a:gd name="connsiteX9" fmla="*/ 287179 w 351567"/>
                <a:gd name="connsiteY9" fmla="*/ 74962 h 263747"/>
                <a:gd name="connsiteX10" fmla="*/ 287179 w 351567"/>
                <a:gd name="connsiteY10" fmla="*/ 263747 h 263747"/>
                <a:gd name="connsiteX11" fmla="*/ 351568 w 351567"/>
                <a:gd name="connsiteY11" fmla="*/ 263747 h 263747"/>
                <a:gd name="connsiteX12" fmla="*/ 351568 w 351567"/>
                <a:gd name="connsiteY12" fmla="*/ 0 h 26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1567" h="263747">
                  <a:moveTo>
                    <a:pt x="259747" y="0"/>
                  </a:moveTo>
                  <a:lnTo>
                    <a:pt x="175736" y="174498"/>
                  </a:lnTo>
                  <a:lnTo>
                    <a:pt x="91726" y="0"/>
                  </a:lnTo>
                  <a:lnTo>
                    <a:pt x="0" y="0"/>
                  </a:lnTo>
                  <a:lnTo>
                    <a:pt x="0" y="263747"/>
                  </a:lnTo>
                  <a:lnTo>
                    <a:pt x="64294" y="263747"/>
                  </a:lnTo>
                  <a:lnTo>
                    <a:pt x="64294" y="74962"/>
                  </a:lnTo>
                  <a:lnTo>
                    <a:pt x="146399" y="234505"/>
                  </a:lnTo>
                  <a:lnTo>
                    <a:pt x="205073" y="234505"/>
                  </a:lnTo>
                  <a:lnTo>
                    <a:pt x="287179" y="74962"/>
                  </a:lnTo>
                  <a:lnTo>
                    <a:pt x="287179" y="263747"/>
                  </a:lnTo>
                  <a:lnTo>
                    <a:pt x="351568" y="263747"/>
                  </a:lnTo>
                  <a:lnTo>
                    <a:pt x="351568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CDB98746-6E4C-9A18-C044-034A7A748037}"/>
                </a:ext>
              </a:extLst>
            </p:cNvPr>
            <p:cNvSpPr/>
            <p:nvPr/>
          </p:nvSpPr>
          <p:spPr>
            <a:xfrm>
              <a:off x="13150468" y="7503872"/>
              <a:ext cx="293751" cy="275085"/>
            </a:xfrm>
            <a:custGeom>
              <a:avLst/>
              <a:gdLst>
                <a:gd name="connsiteX0" fmla="*/ 229457 w 293751"/>
                <a:gd name="connsiteY0" fmla="*/ 181596 h 275085"/>
                <a:gd name="connsiteX1" fmla="*/ 216884 w 293751"/>
                <a:gd name="connsiteY1" fmla="*/ 207314 h 275085"/>
                <a:gd name="connsiteX2" fmla="*/ 191167 w 293751"/>
                <a:gd name="connsiteY2" fmla="*/ 220268 h 275085"/>
                <a:gd name="connsiteX3" fmla="*/ 148590 w 293751"/>
                <a:gd name="connsiteY3" fmla="*/ 224173 h 275085"/>
                <a:gd name="connsiteX4" fmla="*/ 103727 w 293751"/>
                <a:gd name="connsiteY4" fmla="*/ 217601 h 275085"/>
                <a:gd name="connsiteX5" fmla="*/ 74581 w 293751"/>
                <a:gd name="connsiteY5" fmla="*/ 195693 h 275085"/>
                <a:gd name="connsiteX6" fmla="*/ 64103 w 293751"/>
                <a:gd name="connsiteY6" fmla="*/ 151307 h 275085"/>
                <a:gd name="connsiteX7" fmla="*/ 64103 w 293751"/>
                <a:gd name="connsiteY7" fmla="*/ 124256 h 275085"/>
                <a:gd name="connsiteX8" fmla="*/ 74581 w 293751"/>
                <a:gd name="connsiteY8" fmla="*/ 79679 h 275085"/>
                <a:gd name="connsiteX9" fmla="*/ 103632 w 293751"/>
                <a:gd name="connsiteY9" fmla="*/ 57771 h 275085"/>
                <a:gd name="connsiteX10" fmla="*/ 148495 w 293751"/>
                <a:gd name="connsiteY10" fmla="*/ 51199 h 275085"/>
                <a:gd name="connsiteX11" fmla="*/ 191071 w 293751"/>
                <a:gd name="connsiteY11" fmla="*/ 55009 h 275085"/>
                <a:gd name="connsiteX12" fmla="*/ 216789 w 293751"/>
                <a:gd name="connsiteY12" fmla="*/ 67963 h 275085"/>
                <a:gd name="connsiteX13" fmla="*/ 229362 w 293751"/>
                <a:gd name="connsiteY13" fmla="*/ 93680 h 275085"/>
                <a:gd name="connsiteX14" fmla="*/ 293751 w 293751"/>
                <a:gd name="connsiteY14" fmla="*/ 93680 h 275085"/>
                <a:gd name="connsiteX15" fmla="*/ 271748 w 293751"/>
                <a:gd name="connsiteY15" fmla="*/ 38531 h 275085"/>
                <a:gd name="connsiteX16" fmla="*/ 223361 w 293751"/>
                <a:gd name="connsiteY16" fmla="*/ 9003 h 275085"/>
                <a:gd name="connsiteX17" fmla="*/ 148590 w 293751"/>
                <a:gd name="connsiteY17" fmla="*/ 50 h 275085"/>
                <a:gd name="connsiteX18" fmla="*/ 69152 w 293751"/>
                <a:gd name="connsiteY18" fmla="*/ 13194 h 275085"/>
                <a:gd name="connsiteX19" fmla="*/ 17717 w 293751"/>
                <a:gd name="connsiteY19" fmla="*/ 57200 h 275085"/>
                <a:gd name="connsiteX20" fmla="*/ 0 w 293751"/>
                <a:gd name="connsiteY20" fmla="*/ 134543 h 275085"/>
                <a:gd name="connsiteX21" fmla="*/ 0 w 293751"/>
                <a:gd name="connsiteY21" fmla="*/ 137495 h 275085"/>
                <a:gd name="connsiteX22" fmla="*/ 3429 w 293751"/>
                <a:gd name="connsiteY22" fmla="*/ 137591 h 275085"/>
                <a:gd name="connsiteX23" fmla="*/ 0 w 293751"/>
                <a:gd name="connsiteY23" fmla="*/ 137591 h 275085"/>
                <a:gd name="connsiteX24" fmla="*/ 0 w 293751"/>
                <a:gd name="connsiteY24" fmla="*/ 140543 h 275085"/>
                <a:gd name="connsiteX25" fmla="*/ 17717 w 293751"/>
                <a:gd name="connsiteY25" fmla="*/ 217886 h 275085"/>
                <a:gd name="connsiteX26" fmla="*/ 69152 w 293751"/>
                <a:gd name="connsiteY26" fmla="*/ 261892 h 275085"/>
                <a:gd name="connsiteX27" fmla="*/ 148590 w 293751"/>
                <a:gd name="connsiteY27" fmla="*/ 275036 h 275085"/>
                <a:gd name="connsiteX28" fmla="*/ 223361 w 293751"/>
                <a:gd name="connsiteY28" fmla="*/ 266083 h 275085"/>
                <a:gd name="connsiteX29" fmla="*/ 271748 w 293751"/>
                <a:gd name="connsiteY29" fmla="*/ 236555 h 275085"/>
                <a:gd name="connsiteX30" fmla="*/ 293751 w 293751"/>
                <a:gd name="connsiteY30" fmla="*/ 181406 h 275085"/>
                <a:gd name="connsiteX31" fmla="*/ 229457 w 293751"/>
                <a:gd name="connsiteY31" fmla="*/ 181596 h 275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93751" h="275085">
                  <a:moveTo>
                    <a:pt x="229457" y="181596"/>
                  </a:moveTo>
                  <a:cubicBezTo>
                    <a:pt x="228219" y="191312"/>
                    <a:pt x="223838" y="200360"/>
                    <a:pt x="216884" y="207314"/>
                  </a:cubicBezTo>
                  <a:cubicBezTo>
                    <a:pt x="209645" y="213886"/>
                    <a:pt x="200787" y="218363"/>
                    <a:pt x="191167" y="220268"/>
                  </a:cubicBezTo>
                  <a:cubicBezTo>
                    <a:pt x="177165" y="223030"/>
                    <a:pt x="162877" y="224363"/>
                    <a:pt x="148590" y="224173"/>
                  </a:cubicBezTo>
                  <a:cubicBezTo>
                    <a:pt x="133350" y="224459"/>
                    <a:pt x="118205" y="222268"/>
                    <a:pt x="103727" y="217601"/>
                  </a:cubicBezTo>
                  <a:cubicBezTo>
                    <a:pt x="91821" y="213695"/>
                    <a:pt x="81629" y="205980"/>
                    <a:pt x="74581" y="195693"/>
                  </a:cubicBezTo>
                  <a:cubicBezTo>
                    <a:pt x="67532" y="185311"/>
                    <a:pt x="64103" y="170357"/>
                    <a:pt x="64103" y="151307"/>
                  </a:cubicBezTo>
                  <a:lnTo>
                    <a:pt x="64103" y="124256"/>
                  </a:lnTo>
                  <a:cubicBezTo>
                    <a:pt x="64103" y="105015"/>
                    <a:pt x="67627" y="90061"/>
                    <a:pt x="74581" y="79679"/>
                  </a:cubicBezTo>
                  <a:cubicBezTo>
                    <a:pt x="81534" y="69296"/>
                    <a:pt x="91726" y="61581"/>
                    <a:pt x="103632" y="57771"/>
                  </a:cubicBezTo>
                  <a:cubicBezTo>
                    <a:pt x="118110" y="53104"/>
                    <a:pt x="133255" y="50913"/>
                    <a:pt x="148495" y="51199"/>
                  </a:cubicBezTo>
                  <a:cubicBezTo>
                    <a:pt x="162782" y="51008"/>
                    <a:pt x="177070" y="52247"/>
                    <a:pt x="191071" y="55009"/>
                  </a:cubicBezTo>
                  <a:cubicBezTo>
                    <a:pt x="200692" y="56914"/>
                    <a:pt x="209550" y="61391"/>
                    <a:pt x="216789" y="67963"/>
                  </a:cubicBezTo>
                  <a:cubicBezTo>
                    <a:pt x="223742" y="74916"/>
                    <a:pt x="228219" y="83965"/>
                    <a:pt x="229362" y="93680"/>
                  </a:cubicBezTo>
                  <a:lnTo>
                    <a:pt x="293751" y="93680"/>
                  </a:lnTo>
                  <a:cubicBezTo>
                    <a:pt x="292608" y="73392"/>
                    <a:pt x="284893" y="54056"/>
                    <a:pt x="271748" y="38531"/>
                  </a:cubicBezTo>
                  <a:cubicBezTo>
                    <a:pt x="258794" y="24243"/>
                    <a:pt x="242030" y="14051"/>
                    <a:pt x="223361" y="9003"/>
                  </a:cubicBezTo>
                  <a:cubicBezTo>
                    <a:pt x="198977" y="2526"/>
                    <a:pt x="173736" y="-427"/>
                    <a:pt x="148590" y="50"/>
                  </a:cubicBezTo>
                  <a:cubicBezTo>
                    <a:pt x="117729" y="50"/>
                    <a:pt x="90964" y="4526"/>
                    <a:pt x="69152" y="13194"/>
                  </a:cubicBezTo>
                  <a:cubicBezTo>
                    <a:pt x="47435" y="21576"/>
                    <a:pt x="29337" y="37102"/>
                    <a:pt x="17717" y="57200"/>
                  </a:cubicBezTo>
                  <a:cubicBezTo>
                    <a:pt x="6382" y="76631"/>
                    <a:pt x="381" y="102634"/>
                    <a:pt x="0" y="134543"/>
                  </a:cubicBezTo>
                  <a:lnTo>
                    <a:pt x="0" y="137495"/>
                  </a:lnTo>
                  <a:lnTo>
                    <a:pt x="3429" y="137591"/>
                  </a:lnTo>
                  <a:lnTo>
                    <a:pt x="0" y="137591"/>
                  </a:lnTo>
                  <a:lnTo>
                    <a:pt x="0" y="140543"/>
                  </a:lnTo>
                  <a:cubicBezTo>
                    <a:pt x="381" y="172452"/>
                    <a:pt x="6382" y="198360"/>
                    <a:pt x="17717" y="217886"/>
                  </a:cubicBezTo>
                  <a:cubicBezTo>
                    <a:pt x="29337" y="237984"/>
                    <a:pt x="47435" y="253510"/>
                    <a:pt x="69152" y="261892"/>
                  </a:cubicBezTo>
                  <a:cubicBezTo>
                    <a:pt x="91059" y="270655"/>
                    <a:pt x="117824" y="275036"/>
                    <a:pt x="148590" y="275036"/>
                  </a:cubicBezTo>
                  <a:cubicBezTo>
                    <a:pt x="173831" y="275513"/>
                    <a:pt x="198977" y="272560"/>
                    <a:pt x="223361" y="266083"/>
                  </a:cubicBezTo>
                  <a:cubicBezTo>
                    <a:pt x="241935" y="261130"/>
                    <a:pt x="258794" y="250843"/>
                    <a:pt x="271748" y="236555"/>
                  </a:cubicBezTo>
                  <a:cubicBezTo>
                    <a:pt x="284893" y="221030"/>
                    <a:pt x="292608" y="201694"/>
                    <a:pt x="293751" y="181406"/>
                  </a:cubicBezTo>
                  <a:lnTo>
                    <a:pt x="229457" y="18159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847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5B6B3A-981F-5054-5CD2-E0D77FFC98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7931" y="797864"/>
            <a:ext cx="10646026" cy="2097701"/>
          </a:xfrm>
        </p:spPr>
        <p:txBody>
          <a:bodyPr/>
          <a:lstStyle>
            <a:lvl1pPr>
              <a:lnSpc>
                <a:spcPct val="90000"/>
              </a:lnSpc>
              <a:defRPr sz="3998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раздела,  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00B61A1-B320-9C76-23BF-0D5EE402F5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83988" y="148976"/>
            <a:ext cx="578386" cy="181885"/>
          </a:xfrm>
          <a:prstGeom prst="rect">
            <a:avLst/>
          </a:prstGeom>
        </p:spPr>
        <p:txBody>
          <a:bodyPr lIns="0" tIns="0" rIns="0" bIns="0"/>
          <a:lstStyle>
            <a:lvl1pPr>
              <a:defRPr sz="988" b="0" i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fld id="{1B200421-228B-BD43-9045-8FEDD241C1B1}" type="slidenum">
              <a:rPr lang="ru-RU" smtClean="0"/>
              <a:t>‹#›</a:t>
            </a:fld>
            <a:endParaRPr lang="ru-RU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4425B867-8272-ABA9-1A3C-EA8BC91071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586" y="8290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F0115790-FCE2-ACBB-7E24-83DDF6DEE5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86" y="102298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13-15</a:t>
            </a:r>
            <a:endParaRPr lang="en-RU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10DAF752-2844-AB5E-AB61-F0948E213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1">
                    <a:alpha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BFF8568-4BEB-4CA2-34AF-08726490A300}"/>
              </a:ext>
            </a:extLst>
          </p:cNvPr>
          <p:cNvSpPr/>
          <p:nvPr/>
        </p:nvSpPr>
        <p:spPr>
          <a:xfrm>
            <a:off x="7857449" y="3429000"/>
            <a:ext cx="4334551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659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D7EF426B-59BE-B635-7C59-50659E344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49501" y="3644239"/>
            <a:ext cx="2648760" cy="6410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EBE0CC4-BFC6-B487-EF46-95BAE0E106D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62014" y="364423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CEF7BDE3-E2A8-0AB5-6A95-072A56AAE6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62014" y="3838215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58BEBF87-1F53-DD29-A28A-619C4CF8D3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49501" y="4377034"/>
            <a:ext cx="2648760" cy="6410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CD90CC2B-7A1C-DE51-19F5-BB8B55ECC11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2014" y="437703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0802AEBB-9992-65A9-654A-160B061971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62014" y="457100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66F1C493-5D4D-9FD0-2A20-624F64C65F7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49501" y="5109828"/>
            <a:ext cx="2648760" cy="6410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CC8E3394-E1BD-A079-3368-EA2E1CBE002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62014" y="510982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E8B6C278-13DD-8C54-1C42-09D70BC05DE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62014" y="530380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8FB43FE8-848C-7DD5-2569-FFE07C392C3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49501" y="5842623"/>
            <a:ext cx="2648760" cy="6410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</a:t>
            </a:r>
            <a:br>
              <a:rPr lang="en-US" dirty="0"/>
            </a:br>
            <a:r>
              <a:rPr lang="ru-RU" dirty="0"/>
              <a:t>строки</a:t>
            </a:r>
            <a:endParaRPr lang="en-RU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DD96DFCA-AB3D-2416-08AB-306F8BA3ABE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62014" y="584262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7F84914C-41F9-640B-AE1E-0426411D039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162014" y="603659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65757777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74A15FAB-10A4-8072-F186-3DD9F6973B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7228398-C859-B5E6-F8FB-AF06CAE08E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главление</a:t>
            </a:r>
            <a:endParaRPr lang="en-RU" dirty="0"/>
          </a:p>
        </p:txBody>
      </p:sp>
      <p:sp>
        <p:nvSpPr>
          <p:cNvPr id="2" name="Graphic 41">
            <a:extLst>
              <a:ext uri="{FF2B5EF4-FFF2-40B4-BE49-F238E27FC236}">
                <a16:creationId xmlns:a16="http://schemas.microsoft.com/office/drawing/2014/main" id="{7F20F7F7-A770-FB9C-06EA-CCBD16A1C531}"/>
              </a:ext>
            </a:extLst>
          </p:cNvPr>
          <p:cNvSpPr/>
          <p:nvPr/>
        </p:nvSpPr>
        <p:spPr>
          <a:xfrm>
            <a:off x="198818" y="6060446"/>
            <a:ext cx="634406" cy="634440"/>
          </a:xfrm>
          <a:custGeom>
            <a:avLst/>
            <a:gdLst>
              <a:gd name="connsiteX0" fmla="*/ 674387 w 1348773"/>
              <a:gd name="connsiteY0" fmla="*/ 1348773 h 1348773"/>
              <a:gd name="connsiteX1" fmla="*/ 0 w 1348773"/>
              <a:gd name="connsiteY1" fmla="*/ 674387 h 1348773"/>
              <a:gd name="connsiteX2" fmla="*/ 674387 w 1348773"/>
              <a:gd name="connsiteY2" fmla="*/ 0 h 1348773"/>
              <a:gd name="connsiteX3" fmla="*/ 1348773 w 1348773"/>
              <a:gd name="connsiteY3" fmla="*/ 674387 h 1348773"/>
              <a:gd name="connsiteX4" fmla="*/ 674387 w 1348773"/>
              <a:gd name="connsiteY4" fmla="*/ 1348773 h 1348773"/>
              <a:gd name="connsiteX5" fmla="*/ 674387 w 1348773"/>
              <a:gd name="connsiteY5" fmla="*/ 13488 h 1348773"/>
              <a:gd name="connsiteX6" fmla="*/ 13488 w 1348773"/>
              <a:gd name="connsiteY6" fmla="*/ 674387 h 1348773"/>
              <a:gd name="connsiteX7" fmla="*/ 674387 w 1348773"/>
              <a:gd name="connsiteY7" fmla="*/ 1335285 h 1348773"/>
              <a:gd name="connsiteX8" fmla="*/ 1335285 w 1348773"/>
              <a:gd name="connsiteY8" fmla="*/ 674387 h 1348773"/>
              <a:gd name="connsiteX9" fmla="*/ 674387 w 1348773"/>
              <a:gd name="connsiteY9" fmla="*/ 13488 h 1348773"/>
              <a:gd name="connsiteX10" fmla="*/ 725100 w 1348773"/>
              <a:gd name="connsiteY10" fmla="*/ 947378 h 1348773"/>
              <a:gd name="connsiteX11" fmla="*/ 715524 w 1348773"/>
              <a:gd name="connsiteY11" fmla="*/ 937802 h 1348773"/>
              <a:gd name="connsiteX12" fmla="*/ 967610 w 1348773"/>
              <a:gd name="connsiteY12" fmla="*/ 685716 h 1348773"/>
              <a:gd name="connsiteX13" fmla="*/ 377656 w 1348773"/>
              <a:gd name="connsiteY13" fmla="*/ 685716 h 1348773"/>
              <a:gd name="connsiteX14" fmla="*/ 377656 w 1348773"/>
              <a:gd name="connsiteY14" fmla="*/ 672228 h 1348773"/>
              <a:gd name="connsiteX15" fmla="*/ 964912 w 1348773"/>
              <a:gd name="connsiteY15" fmla="*/ 672228 h 1348773"/>
              <a:gd name="connsiteX16" fmla="*/ 715659 w 1348773"/>
              <a:gd name="connsiteY16" fmla="*/ 422840 h 1348773"/>
              <a:gd name="connsiteX17" fmla="*/ 725235 w 1348773"/>
              <a:gd name="connsiteY17" fmla="*/ 413264 h 1348773"/>
              <a:gd name="connsiteX18" fmla="*/ 989460 w 1348773"/>
              <a:gd name="connsiteY18" fmla="*/ 677489 h 1348773"/>
              <a:gd name="connsiteX19" fmla="*/ 986628 w 1348773"/>
              <a:gd name="connsiteY19" fmla="*/ 680321 h 1348773"/>
              <a:gd name="connsiteX20" fmla="*/ 989460 w 1348773"/>
              <a:gd name="connsiteY20" fmla="*/ 683154 h 1348773"/>
              <a:gd name="connsiteX21" fmla="*/ 725100 w 1348773"/>
              <a:gd name="connsiteY21" fmla="*/ 947378 h 1348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348773" h="1348773">
                <a:moveTo>
                  <a:pt x="674387" y="1348773"/>
                </a:moveTo>
                <a:cubicBezTo>
                  <a:pt x="302530" y="1348773"/>
                  <a:pt x="0" y="1046243"/>
                  <a:pt x="0" y="674387"/>
                </a:cubicBezTo>
                <a:cubicBezTo>
                  <a:pt x="0" y="302530"/>
                  <a:pt x="302530" y="0"/>
                  <a:pt x="674387" y="0"/>
                </a:cubicBezTo>
                <a:cubicBezTo>
                  <a:pt x="1046243" y="0"/>
                  <a:pt x="1348773" y="302530"/>
                  <a:pt x="1348773" y="674387"/>
                </a:cubicBezTo>
                <a:cubicBezTo>
                  <a:pt x="1348773" y="1046243"/>
                  <a:pt x="1046243" y="1348773"/>
                  <a:pt x="674387" y="1348773"/>
                </a:cubicBezTo>
                <a:close/>
                <a:moveTo>
                  <a:pt x="674387" y="13488"/>
                </a:moveTo>
                <a:cubicBezTo>
                  <a:pt x="309948" y="13488"/>
                  <a:pt x="13488" y="309948"/>
                  <a:pt x="13488" y="674387"/>
                </a:cubicBezTo>
                <a:cubicBezTo>
                  <a:pt x="13488" y="1038825"/>
                  <a:pt x="309948" y="1335285"/>
                  <a:pt x="674387" y="1335285"/>
                </a:cubicBezTo>
                <a:cubicBezTo>
                  <a:pt x="1038825" y="1335285"/>
                  <a:pt x="1335285" y="1038825"/>
                  <a:pt x="1335285" y="674387"/>
                </a:cubicBezTo>
                <a:cubicBezTo>
                  <a:pt x="1335285" y="309948"/>
                  <a:pt x="1038825" y="13488"/>
                  <a:pt x="674387" y="13488"/>
                </a:cubicBezTo>
                <a:close/>
                <a:moveTo>
                  <a:pt x="725100" y="947378"/>
                </a:moveTo>
                <a:lnTo>
                  <a:pt x="715524" y="937802"/>
                </a:lnTo>
                <a:lnTo>
                  <a:pt x="967610" y="685716"/>
                </a:lnTo>
                <a:lnTo>
                  <a:pt x="377656" y="685716"/>
                </a:lnTo>
                <a:lnTo>
                  <a:pt x="377656" y="672228"/>
                </a:lnTo>
                <a:lnTo>
                  <a:pt x="964912" y="672228"/>
                </a:lnTo>
                <a:lnTo>
                  <a:pt x="715659" y="422840"/>
                </a:lnTo>
                <a:lnTo>
                  <a:pt x="725235" y="413264"/>
                </a:lnTo>
                <a:lnTo>
                  <a:pt x="989460" y="677489"/>
                </a:lnTo>
                <a:lnTo>
                  <a:pt x="986628" y="680321"/>
                </a:lnTo>
                <a:lnTo>
                  <a:pt x="989460" y="683154"/>
                </a:lnTo>
                <a:lnTo>
                  <a:pt x="725100" y="947378"/>
                </a:lnTo>
                <a:close/>
              </a:path>
            </a:pathLst>
          </a:custGeom>
          <a:solidFill>
            <a:schemeClr val="bg1"/>
          </a:solidFill>
          <a:ln w="13430" cap="flat">
            <a:noFill/>
            <a:prstDash val="solid"/>
            <a:miter/>
          </a:ln>
        </p:spPr>
        <p:txBody>
          <a:bodyPr rtlCol="0" anchor="ctr"/>
          <a:lstStyle/>
          <a:p>
            <a:endParaRPr lang="en-RU" sz="1904"/>
          </a:p>
        </p:txBody>
      </p:sp>
    </p:spTree>
    <p:extLst>
      <p:ext uri="{BB962C8B-B14F-4D97-AF65-F5344CB8AC3E}">
        <p14:creationId xmlns:p14="http://schemas.microsoft.com/office/powerpoint/2010/main" val="1697759779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sp>
        <p:nvSpPr>
          <p:cNvPr id="49" name="Text Placeholder 23">
            <a:extLst>
              <a:ext uri="{FF2B5EF4-FFF2-40B4-BE49-F238E27FC236}">
                <a16:creationId xmlns:a16="http://schemas.microsoft.com/office/drawing/2014/main" id="{33A32D2D-0AA7-FCF2-3896-0A194A1E48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32377" y="183774"/>
            <a:ext cx="2552352" cy="3153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80000"/>
              </a:lnSpc>
              <a:buFontTx/>
              <a:buNone/>
              <a:defRPr sz="988" cap="all" spc="19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988">
                <a:solidFill>
                  <a:srgbClr val="C0C0C0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РАЗДЕЛ ПРЕЗЕНТАЦИИ</a:t>
            </a:r>
          </a:p>
          <a:p>
            <a:pPr lvl="0"/>
            <a:r>
              <a:rPr lang="ru-RU" dirty="0"/>
              <a:t>ДАЛЕЕ: СЛЕДУЮЩИЙ РАЗДЕЛ</a:t>
            </a:r>
            <a:endParaRPr lang="en-RU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0A354B8-D4A7-CFB2-2844-CB15021724CB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E33F670C-9844-8AB0-2F99-7DE8A6F5EA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EC86D0C0-A132-DCF5-A7EB-4A4896D532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AB888133-86FC-9770-D3EC-27675CB608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50" name="Text Placeholder 14">
            <a:extLst>
              <a:ext uri="{FF2B5EF4-FFF2-40B4-BE49-F238E27FC236}">
                <a16:creationId xmlns:a16="http://schemas.microsoft.com/office/drawing/2014/main" id="{57EF1A87-4DAA-9406-794E-ADE81A2D4A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51" name="Text Placeholder 14">
            <a:extLst>
              <a:ext uri="{FF2B5EF4-FFF2-40B4-BE49-F238E27FC236}">
                <a16:creationId xmlns:a16="http://schemas.microsoft.com/office/drawing/2014/main" id="{8FCA52BD-18EE-14C5-0BBF-DC34A694A4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52" name="Text Placeholder 14">
            <a:extLst>
              <a:ext uri="{FF2B5EF4-FFF2-40B4-BE49-F238E27FC236}">
                <a16:creationId xmlns:a16="http://schemas.microsoft.com/office/drawing/2014/main" id="{00AF225C-352B-F96E-BAD1-C88D1B2ACB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53" name="Text Placeholder 14">
            <a:extLst>
              <a:ext uri="{FF2B5EF4-FFF2-40B4-BE49-F238E27FC236}">
                <a16:creationId xmlns:a16="http://schemas.microsoft.com/office/drawing/2014/main" id="{5710A7DD-5BB7-49A4-5B4B-71173246A4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54" name="Text Placeholder 14">
            <a:extLst>
              <a:ext uri="{FF2B5EF4-FFF2-40B4-BE49-F238E27FC236}">
                <a16:creationId xmlns:a16="http://schemas.microsoft.com/office/drawing/2014/main" id="{6859AAA7-093C-A21B-C13C-CC81D2E272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55" name="Text Placeholder 14">
            <a:extLst>
              <a:ext uri="{FF2B5EF4-FFF2-40B4-BE49-F238E27FC236}">
                <a16:creationId xmlns:a16="http://schemas.microsoft.com/office/drawing/2014/main" id="{5BFA4620-FE20-2B38-8B5A-74A86B201C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.3</a:t>
            </a:r>
            <a:endParaRPr lang="en-RU" dirty="0"/>
          </a:p>
        </p:txBody>
      </p:sp>
      <p:sp>
        <p:nvSpPr>
          <p:cNvPr id="56" name="Text Placeholder 14">
            <a:extLst>
              <a:ext uri="{FF2B5EF4-FFF2-40B4-BE49-F238E27FC236}">
                <a16:creationId xmlns:a16="http://schemas.microsoft.com/office/drawing/2014/main" id="{6D1C3220-F3E1-7F80-0FDC-4C015979D19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57" name="Text Placeholder 14">
            <a:extLst>
              <a:ext uri="{FF2B5EF4-FFF2-40B4-BE49-F238E27FC236}">
                <a16:creationId xmlns:a16="http://schemas.microsoft.com/office/drawing/2014/main" id="{2B4C5473-7B82-9ED0-4BF7-72167F17826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58" name="Text Placeholder 14">
            <a:extLst>
              <a:ext uri="{FF2B5EF4-FFF2-40B4-BE49-F238E27FC236}">
                <a16:creationId xmlns:a16="http://schemas.microsoft.com/office/drawing/2014/main" id="{7C10B8C7-AF18-BD5C-296E-3A255FC0DAB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59" name="Text Placeholder 14">
            <a:extLst>
              <a:ext uri="{FF2B5EF4-FFF2-40B4-BE49-F238E27FC236}">
                <a16:creationId xmlns:a16="http://schemas.microsoft.com/office/drawing/2014/main" id="{49C561C7-B537-46D0-6E35-5A47A78BEF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60" name="Text Placeholder 14">
            <a:extLst>
              <a:ext uri="{FF2B5EF4-FFF2-40B4-BE49-F238E27FC236}">
                <a16:creationId xmlns:a16="http://schemas.microsoft.com/office/drawing/2014/main" id="{5BD6144A-235C-8F27-6F83-E90119C01E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61" name="Text Placeholder 14">
            <a:extLst>
              <a:ext uri="{FF2B5EF4-FFF2-40B4-BE49-F238E27FC236}">
                <a16:creationId xmlns:a16="http://schemas.microsoft.com/office/drawing/2014/main" id="{3A89C245-8FBB-E173-615B-DB66C2A0A46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62" name="Text Placeholder 14">
            <a:extLst>
              <a:ext uri="{FF2B5EF4-FFF2-40B4-BE49-F238E27FC236}">
                <a16:creationId xmlns:a16="http://schemas.microsoft.com/office/drawing/2014/main" id="{A683CAA6-0C6C-740B-F92A-7C9D53E5987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63" name="Text Placeholder 14">
            <a:extLst>
              <a:ext uri="{FF2B5EF4-FFF2-40B4-BE49-F238E27FC236}">
                <a16:creationId xmlns:a16="http://schemas.microsoft.com/office/drawing/2014/main" id="{99FF2A61-C0D3-0CC0-423E-3133B807B84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64" name="Text Placeholder 14">
            <a:extLst>
              <a:ext uri="{FF2B5EF4-FFF2-40B4-BE49-F238E27FC236}">
                <a16:creationId xmlns:a16="http://schemas.microsoft.com/office/drawing/2014/main" id="{848E35DC-B534-3795-77FF-D8D192C119B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65" name="Text Placeholder 14">
            <a:extLst>
              <a:ext uri="{FF2B5EF4-FFF2-40B4-BE49-F238E27FC236}">
                <a16:creationId xmlns:a16="http://schemas.microsoft.com/office/drawing/2014/main" id="{79767194-E02B-FDFC-16AD-84D2ED1EB10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66" name="Text Placeholder 14">
            <a:extLst>
              <a:ext uri="{FF2B5EF4-FFF2-40B4-BE49-F238E27FC236}">
                <a16:creationId xmlns:a16="http://schemas.microsoft.com/office/drawing/2014/main" id="{821B7873-34E7-B892-85A6-1E81ECC84B0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67" name="Text Placeholder 14">
            <a:extLst>
              <a:ext uri="{FF2B5EF4-FFF2-40B4-BE49-F238E27FC236}">
                <a16:creationId xmlns:a16="http://schemas.microsoft.com/office/drawing/2014/main" id="{0CC75EFC-61ED-9EB0-C717-42F0E1CC2DB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68" name="Text Placeholder 14">
            <a:extLst>
              <a:ext uri="{FF2B5EF4-FFF2-40B4-BE49-F238E27FC236}">
                <a16:creationId xmlns:a16="http://schemas.microsoft.com/office/drawing/2014/main" id="{1793EADF-DDF2-0669-8D1C-505F2330374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69" name="Text Placeholder 14">
            <a:extLst>
              <a:ext uri="{FF2B5EF4-FFF2-40B4-BE49-F238E27FC236}">
                <a16:creationId xmlns:a16="http://schemas.microsoft.com/office/drawing/2014/main" id="{D29A9E21-852F-5D68-3834-2C768154E0E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70" name="Text Placeholder 14">
            <a:extLst>
              <a:ext uri="{FF2B5EF4-FFF2-40B4-BE49-F238E27FC236}">
                <a16:creationId xmlns:a16="http://schemas.microsoft.com/office/drawing/2014/main" id="{F8F9939E-CDA9-0BC9-A7A9-6FDCE81063C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0A5DF604-834E-AB19-FB84-917D6898C5FF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CD35C765-10D6-8AE1-865C-FD913C7563EC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CFBD82A-FBF8-4BA1-C6E3-EAFDF48EC0A3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E545BE4F-39E6-29B1-6640-3016F55BDB70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AFB0550-563F-7C88-CFD6-31E8BB4ACDCE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F4625278-4E79-9E78-E0CA-EF3E07AD43B5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C6B3CEA0-0D37-09F9-8906-CC449C5E44C7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FB7312E0-465A-EA64-BEE6-82EF1838B15F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rgbClr val="AAAA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 Placeholder 14">
            <a:extLst>
              <a:ext uri="{FF2B5EF4-FFF2-40B4-BE49-F238E27FC236}">
                <a16:creationId xmlns:a16="http://schemas.microsoft.com/office/drawing/2014/main" id="{EA3DE63A-4BFD-6E14-676C-7D60C69204B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039521" y="344670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81" name="Text Placeholder 14">
            <a:extLst>
              <a:ext uri="{FF2B5EF4-FFF2-40B4-BE49-F238E27FC236}">
                <a16:creationId xmlns:a16="http://schemas.microsoft.com/office/drawing/2014/main" id="{64884866-A7FB-9118-06D8-3EBEFFE9027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32376" y="3441459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r>
              <a:rPr lang="ru-RU" dirty="0"/>
              <a:t>.</a:t>
            </a:r>
            <a:r>
              <a:rPr lang="en-US" dirty="0"/>
              <a:t>2</a:t>
            </a:r>
            <a:endParaRPr lang="en-RU" dirty="0"/>
          </a:p>
        </p:txBody>
      </p:sp>
      <p:sp>
        <p:nvSpPr>
          <p:cNvPr id="82" name="Text Placeholder 14">
            <a:extLst>
              <a:ext uri="{FF2B5EF4-FFF2-40B4-BE49-F238E27FC236}">
                <a16:creationId xmlns:a16="http://schemas.microsoft.com/office/drawing/2014/main" id="{9DDBDEC2-E5CC-77AA-AC87-A66C70A3170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132376" y="363543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84" name="Title 83">
            <a:extLst>
              <a:ext uri="{FF2B5EF4-FFF2-40B4-BE49-F238E27FC236}">
                <a16:creationId xmlns:a16="http://schemas.microsoft.com/office/drawing/2014/main" id="{DDF037D7-423A-0D10-878C-B7CA782914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главление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3349575541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3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05648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407371" y="1318105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754243440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4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05648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407371" y="2661746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604424945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5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05648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407371" y="4008071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303116917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6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05648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407371" y="5351713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B6290B8-8CF6-B053-7520-CF15BADC67F2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2043A5F-8CDB-BE29-94B4-863E0216BE21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70C8C3DD-EECF-6862-6C90-114F10C1B414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54ACC69A-4DD7-74F2-2AE1-BCA702DBFF53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FCE51DF3-C412-AD9F-0F47-612B0763BF0E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757471019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7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077841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1137841" y="1318105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59DC529-49BD-8D1D-C0D6-AB95AE46150D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D0C1200-44C7-FF87-3575-96CA4CA85610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D23DCFF5-AA6E-7DB7-E19C-3DE47D46BA91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BD0D226-5A59-32E4-D553-E1B2DF19E65A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20F742EA-9746-1864-D7D8-547C6BE5CE8B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768625174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8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077841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1137841" y="2661746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B62B13E-36BD-7AD8-6D5F-CB951281C66E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429CED8-82A8-886D-86AE-6B200902308C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8EBDC330-4C96-A4AC-1B08-263ED3687FEB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EF76EB8-3153-1CE5-AE9A-B49BC5D3E9B7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3D9A2524-F3BA-D03A-B461-637F36896C2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832102251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9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2" y="4124467"/>
            <a:ext cx="2077841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1137841" y="4008071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DFDCCB-AADB-C4CD-9E63-97E8B28B41FD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5ED4B90-353E-4860-D5FB-E36F777277D3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764A870F-D31F-5EBB-A248-ABCDA58A61EA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DB3C7F3C-5D52-508C-C840-53200B3E1699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7D3C6F70-1E07-8B57-8958-74BC58D0C0B0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4258074844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главление 10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C5C7DC-FD72-0FE6-35F0-6AA2B9294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7FF3C5B-5661-71B9-29A0-BA23C892BC18}"/>
              </a:ext>
            </a:extLst>
          </p:cNvPr>
          <p:cNvCxnSpPr>
            <a:cxnSpLocks/>
          </p:cNvCxnSpPr>
          <p:nvPr/>
        </p:nvCxnSpPr>
        <p:spPr>
          <a:xfrm>
            <a:off x="3132376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CE4488-866C-8BA0-73B5-02F28E7493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9521" y="1440324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E6AADCA-0656-C742-7EB3-1E956864B0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39521" y="2782395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561E56D4-B980-D56D-3BE0-F210174071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39521" y="4124467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6D83C6-BD43-B2B4-BC15-7717A3C706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9521" y="5466538"/>
            <a:ext cx="2648760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20739D9-20B2-6E54-4EBA-697F075857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32376" y="1440324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38F4A499-07C4-916F-C98E-EE0DBE0B00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32376" y="1634300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C9C5774C-D0B8-3A33-4C97-A8E1DADD65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32376" y="2781282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AF40A66B-464A-31B0-0689-F8A10B934C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32376" y="2975257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E4C7E110-F9E9-4B7B-9485-CBAF9B6B96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2376" y="4119221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488F04D3-5F7D-6C84-DECF-747CF4C908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32376" y="4313196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0E5E0E09-EED9-76F0-D65B-BF01D19F11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32376" y="5466538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5E1E9693-B311-9CD3-40CF-39E3AF9883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32376" y="5660513"/>
            <a:ext cx="592875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551FA8F-69D9-ADB5-1C62-D8958B47AA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3231" y="1440324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5AC8A498-CCDC-282E-6841-542482BC1D6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3231" y="2782395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DCC6D508-ABA7-C3A7-5C67-4432D59AAF0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3231" y="4124467"/>
            <a:ext cx="2669968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ACBC15B5-4935-D30E-1CBD-707FC5617CB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43231" y="5466538"/>
            <a:ext cx="2077841" cy="65787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ru-RU" dirty="0"/>
              <a:t>Название раздела, </a:t>
            </a:r>
            <a:br>
              <a:rPr lang="en-US" dirty="0"/>
            </a:br>
            <a:r>
              <a:rPr lang="ru-RU" dirty="0"/>
              <a:t>максимум две-три строки</a:t>
            </a:r>
            <a:endParaRPr lang="en-RU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74B7833-9C2E-96FF-1FFB-936EB26D76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72368" y="1440324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14A16394-FF19-B1DC-2865-66A199C2EC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72368" y="1634300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0CB8D96-D74E-1115-8A91-1B2484BADD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872368" y="2781282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4F428653-B9CE-0CD5-DFEE-B4E4E0983D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72368" y="2975257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238170CB-7E29-F254-3EC3-3298E0B21F4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872368" y="4119221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0BFC6B6B-2ABA-EB50-ABA3-66C79A487F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72368" y="4313196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65000"/>
                    <a:lumOff val="3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8A96A611-539E-5948-4742-EA8CC73119F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872368" y="5466538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</a:t>
            </a:r>
            <a:endParaRPr lang="en-RU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32D4A0CC-8656-0740-F685-E0C2FB8E4A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872368" y="5660513"/>
            <a:ext cx="554353" cy="212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17" b="0" i="0" spc="47" baseline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  <a:lvl2pPr marL="483763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2pPr>
            <a:lvl3pPr marL="967525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3pPr>
            <a:lvl4pPr marL="1451289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4pPr>
            <a:lvl5pPr marL="1935052" indent="0">
              <a:buFontTx/>
              <a:buNone/>
              <a:defRPr sz="1317" b="0" i="0">
                <a:latin typeface="MTS Text" panose="020B0306020102020303" pitchFamily="34" charset="0"/>
                <a:ea typeface="MTS Text" panose="020B0306020102020303" pitchFamily="34" charset="0"/>
              </a:defRPr>
            </a:lvl5pPr>
          </a:lstStyle>
          <a:p>
            <a:pPr lvl="0"/>
            <a:r>
              <a:rPr lang="en-US" dirty="0"/>
              <a:t>01-12</a:t>
            </a:r>
            <a:endParaRPr lang="en-RU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BEB4EB-318A-5A12-FA2F-AC9C734E7C9A}"/>
              </a:ext>
            </a:extLst>
          </p:cNvPr>
          <p:cNvCxnSpPr>
            <a:cxnSpLocks/>
          </p:cNvCxnSpPr>
          <p:nvPr/>
        </p:nvCxnSpPr>
        <p:spPr>
          <a:xfrm>
            <a:off x="3132376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041C314-3976-9DB4-A062-581A6F3D0297}"/>
              </a:ext>
            </a:extLst>
          </p:cNvPr>
          <p:cNvCxnSpPr>
            <a:cxnSpLocks/>
          </p:cNvCxnSpPr>
          <p:nvPr/>
        </p:nvCxnSpPr>
        <p:spPr>
          <a:xfrm>
            <a:off x="3132376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36E7F6-BB02-8CF3-2ACC-A2899530D2ED}"/>
              </a:ext>
            </a:extLst>
          </p:cNvPr>
          <p:cNvCxnSpPr>
            <a:cxnSpLocks/>
          </p:cNvCxnSpPr>
          <p:nvPr/>
        </p:nvCxnSpPr>
        <p:spPr>
          <a:xfrm>
            <a:off x="3132376" y="5349028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CB18007-34EB-4802-265A-36ACBE637E5A}"/>
              </a:ext>
            </a:extLst>
          </p:cNvPr>
          <p:cNvCxnSpPr>
            <a:cxnSpLocks/>
          </p:cNvCxnSpPr>
          <p:nvPr/>
        </p:nvCxnSpPr>
        <p:spPr>
          <a:xfrm>
            <a:off x="7863422" y="1318105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8652785-279B-23EE-8E08-218DF6822A42}"/>
              </a:ext>
            </a:extLst>
          </p:cNvPr>
          <p:cNvCxnSpPr>
            <a:cxnSpLocks/>
          </p:cNvCxnSpPr>
          <p:nvPr/>
        </p:nvCxnSpPr>
        <p:spPr>
          <a:xfrm>
            <a:off x="7863422" y="2661746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B5CAF15-77CC-326B-7ECA-CA2B42906DF1}"/>
              </a:ext>
            </a:extLst>
          </p:cNvPr>
          <p:cNvCxnSpPr>
            <a:cxnSpLocks/>
          </p:cNvCxnSpPr>
          <p:nvPr/>
        </p:nvCxnSpPr>
        <p:spPr>
          <a:xfrm>
            <a:off x="7863422" y="4005387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E12C011-7B08-939C-7635-0C1FF67455F7}"/>
              </a:ext>
            </a:extLst>
          </p:cNvPr>
          <p:cNvCxnSpPr>
            <a:cxnSpLocks/>
          </p:cNvCxnSpPr>
          <p:nvPr/>
        </p:nvCxnSpPr>
        <p:spPr>
          <a:xfrm>
            <a:off x="7863422" y="5349028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F4CE81C-0DA7-1235-947C-E6E329283A91}"/>
              </a:ext>
            </a:extLst>
          </p:cNvPr>
          <p:cNvCxnSpPr>
            <a:cxnSpLocks/>
          </p:cNvCxnSpPr>
          <p:nvPr/>
        </p:nvCxnSpPr>
        <p:spPr>
          <a:xfrm>
            <a:off x="3132376" y="6692669"/>
            <a:ext cx="4131622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0CD6B02-81F9-F6C6-8CE7-E2C82EBBA018}"/>
              </a:ext>
            </a:extLst>
          </p:cNvPr>
          <p:cNvCxnSpPr>
            <a:cxnSpLocks/>
          </p:cNvCxnSpPr>
          <p:nvPr/>
        </p:nvCxnSpPr>
        <p:spPr>
          <a:xfrm>
            <a:off x="7863422" y="6692669"/>
            <a:ext cx="413162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3E959807-DB44-9A3E-8EA7-67B940FDEEBC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1137841" y="5351713"/>
            <a:ext cx="857203" cy="134095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41" b="0" i="0">
                <a:solidFill>
                  <a:schemeClr val="tx1">
                    <a:lumMod val="75000"/>
                    <a:lumOff val="2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en-RU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3B3DCFA-D9BC-ED25-5CE8-A55E70720822}"/>
              </a:ext>
            </a:extLst>
          </p:cNvPr>
          <p:cNvGrpSpPr/>
          <p:nvPr/>
        </p:nvGrpSpPr>
        <p:grpSpPr>
          <a:xfrm>
            <a:off x="11421841" y="-374"/>
            <a:ext cx="770159" cy="770488"/>
            <a:chOff x="21540109" y="558527"/>
            <a:chExt cx="1637391" cy="163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F312E70-8FEA-C2C0-BF8F-3A8C2CE38797}"/>
                </a:ext>
              </a:extLst>
            </p:cNvPr>
            <p:cNvSpPr/>
            <p:nvPr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659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B2EED3DE-71A9-A2E3-FA84-7FB7971F0ED5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6C480976-BA2B-09F0-7448-3DF2CD90A573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C0306AC1-DAB4-38BF-0510-49C948672A25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1904"/>
            </a:p>
          </p:txBody>
        </p:sp>
      </p:grpSp>
    </p:spTree>
    <p:extLst>
      <p:ext uri="{BB962C8B-B14F-4D97-AF65-F5344CB8AC3E}">
        <p14:creationId xmlns:p14="http://schemas.microsoft.com/office/powerpoint/2010/main" val="19545676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62.xml"/><Relationship Id="rId47" Type="http://schemas.openxmlformats.org/officeDocument/2006/relationships/slideLayout" Target="../slideLayouts/slideLayout67.xml"/><Relationship Id="rId63" Type="http://schemas.openxmlformats.org/officeDocument/2006/relationships/slideLayout" Target="../slideLayouts/slideLayout83.xml"/><Relationship Id="rId68" Type="http://schemas.openxmlformats.org/officeDocument/2006/relationships/oleObject" Target="../embeddings/oleObject2.bin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slideLayout" Target="../slideLayouts/slideLayout52.xml"/><Relationship Id="rId37" Type="http://schemas.openxmlformats.org/officeDocument/2006/relationships/slideLayout" Target="../slideLayouts/slideLayout57.xml"/><Relationship Id="rId40" Type="http://schemas.openxmlformats.org/officeDocument/2006/relationships/slideLayout" Target="../slideLayouts/slideLayout60.xml"/><Relationship Id="rId45" Type="http://schemas.openxmlformats.org/officeDocument/2006/relationships/slideLayout" Target="../slideLayouts/slideLayout65.xml"/><Relationship Id="rId53" Type="http://schemas.openxmlformats.org/officeDocument/2006/relationships/slideLayout" Target="../slideLayouts/slideLayout73.xml"/><Relationship Id="rId58" Type="http://schemas.openxmlformats.org/officeDocument/2006/relationships/slideLayout" Target="../slideLayouts/slideLayout78.xml"/><Relationship Id="rId66" Type="http://schemas.openxmlformats.org/officeDocument/2006/relationships/theme" Target="../theme/theme2.xml"/><Relationship Id="rId5" Type="http://schemas.openxmlformats.org/officeDocument/2006/relationships/slideLayout" Target="../slideLayouts/slideLayout25.xml"/><Relationship Id="rId61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slideLayout" Target="../slideLayouts/slideLayout55.xml"/><Relationship Id="rId43" Type="http://schemas.openxmlformats.org/officeDocument/2006/relationships/slideLayout" Target="../slideLayouts/slideLayout63.xml"/><Relationship Id="rId48" Type="http://schemas.openxmlformats.org/officeDocument/2006/relationships/slideLayout" Target="../slideLayouts/slideLayout68.xml"/><Relationship Id="rId56" Type="http://schemas.openxmlformats.org/officeDocument/2006/relationships/slideLayout" Target="../slideLayouts/slideLayout76.xml"/><Relationship Id="rId64" Type="http://schemas.openxmlformats.org/officeDocument/2006/relationships/slideLayout" Target="../slideLayouts/slideLayout84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28.xml"/><Relationship Id="rId51" Type="http://schemas.openxmlformats.org/officeDocument/2006/relationships/slideLayout" Target="../slideLayouts/slideLayout71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slideLayout" Target="../slideLayouts/slideLayout53.xml"/><Relationship Id="rId38" Type="http://schemas.openxmlformats.org/officeDocument/2006/relationships/slideLayout" Target="../slideLayouts/slideLayout58.xml"/><Relationship Id="rId46" Type="http://schemas.openxmlformats.org/officeDocument/2006/relationships/slideLayout" Target="../slideLayouts/slideLayout66.xml"/><Relationship Id="rId59" Type="http://schemas.openxmlformats.org/officeDocument/2006/relationships/slideLayout" Target="../slideLayouts/slideLayout79.xml"/><Relationship Id="rId67" Type="http://schemas.openxmlformats.org/officeDocument/2006/relationships/tags" Target="../tags/tag3.xml"/><Relationship Id="rId2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61.xml"/><Relationship Id="rId54" Type="http://schemas.openxmlformats.org/officeDocument/2006/relationships/slideLayout" Target="../slideLayouts/slideLayout74.xml"/><Relationship Id="rId6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36" Type="http://schemas.openxmlformats.org/officeDocument/2006/relationships/slideLayout" Target="../slideLayouts/slideLayout56.xml"/><Relationship Id="rId49" Type="http://schemas.openxmlformats.org/officeDocument/2006/relationships/slideLayout" Target="../slideLayouts/slideLayout69.xml"/><Relationship Id="rId57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51.xml"/><Relationship Id="rId44" Type="http://schemas.openxmlformats.org/officeDocument/2006/relationships/slideLayout" Target="../slideLayouts/slideLayout64.xml"/><Relationship Id="rId52" Type="http://schemas.openxmlformats.org/officeDocument/2006/relationships/slideLayout" Target="../slideLayouts/slideLayout72.xml"/><Relationship Id="rId60" Type="http://schemas.openxmlformats.org/officeDocument/2006/relationships/slideLayout" Target="../slideLayouts/slideLayout80.xml"/><Relationship Id="rId6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54.xml"/><Relationship Id="rId50" Type="http://schemas.openxmlformats.org/officeDocument/2006/relationships/slideLayout" Target="../slideLayouts/slideLayout70.xml"/><Relationship Id="rId55" Type="http://schemas.openxmlformats.org/officeDocument/2006/relationships/slideLayout" Target="../slideLayouts/slideLayout7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9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19.xml"/><Relationship Id="rId42" Type="http://schemas.openxmlformats.org/officeDocument/2006/relationships/slideLayout" Target="../slideLayouts/slideLayout127.xml"/><Relationship Id="rId47" Type="http://schemas.openxmlformats.org/officeDocument/2006/relationships/slideLayout" Target="../slideLayouts/slideLayout132.xml"/><Relationship Id="rId50" Type="http://schemas.openxmlformats.org/officeDocument/2006/relationships/slideLayout" Target="../slideLayouts/slideLayout135.xml"/><Relationship Id="rId55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9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slideLayout" Target="../slideLayouts/slideLayout117.xml"/><Relationship Id="rId37" Type="http://schemas.openxmlformats.org/officeDocument/2006/relationships/slideLayout" Target="../slideLayouts/slideLayout122.xml"/><Relationship Id="rId40" Type="http://schemas.openxmlformats.org/officeDocument/2006/relationships/slideLayout" Target="../slideLayouts/slideLayout125.xml"/><Relationship Id="rId45" Type="http://schemas.openxmlformats.org/officeDocument/2006/relationships/slideLayout" Target="../slideLayouts/slideLayout130.xml"/><Relationship Id="rId53" Type="http://schemas.openxmlformats.org/officeDocument/2006/relationships/slideLayout" Target="../slideLayouts/slideLayout138.xml"/><Relationship Id="rId58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90.xml"/><Relationship Id="rId61" Type="http://schemas.openxmlformats.org/officeDocument/2006/relationships/oleObject" Target="../embeddings/oleObject5.bin"/><Relationship Id="rId1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slideLayout" Target="../slideLayouts/slideLayout120.xml"/><Relationship Id="rId43" Type="http://schemas.openxmlformats.org/officeDocument/2006/relationships/slideLayout" Target="../slideLayouts/slideLayout128.xml"/><Relationship Id="rId48" Type="http://schemas.openxmlformats.org/officeDocument/2006/relationships/slideLayout" Target="../slideLayouts/slideLayout133.xml"/><Relationship Id="rId56" Type="http://schemas.openxmlformats.org/officeDocument/2006/relationships/slideLayout" Target="../slideLayouts/slideLayout141.xml"/><Relationship Id="rId8" Type="http://schemas.openxmlformats.org/officeDocument/2006/relationships/slideLayout" Target="../slideLayouts/slideLayout93.xml"/><Relationship Id="rId51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18.xml"/><Relationship Id="rId38" Type="http://schemas.openxmlformats.org/officeDocument/2006/relationships/slideLayout" Target="../slideLayouts/slideLayout123.xml"/><Relationship Id="rId46" Type="http://schemas.openxmlformats.org/officeDocument/2006/relationships/slideLayout" Target="../slideLayouts/slideLayout131.xml"/><Relationship Id="rId59" Type="http://schemas.openxmlformats.org/officeDocument/2006/relationships/theme" Target="../theme/theme3.xml"/><Relationship Id="rId20" Type="http://schemas.openxmlformats.org/officeDocument/2006/relationships/slideLayout" Target="../slideLayouts/slideLayout105.xml"/><Relationship Id="rId41" Type="http://schemas.openxmlformats.org/officeDocument/2006/relationships/slideLayout" Target="../slideLayouts/slideLayout126.xml"/><Relationship Id="rId54" Type="http://schemas.openxmlformats.org/officeDocument/2006/relationships/slideLayout" Target="../slideLayouts/slideLayout139.xml"/><Relationship Id="rId62" Type="http://schemas.openxmlformats.org/officeDocument/2006/relationships/image" Target="../media/image1.emf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slideLayout" Target="../slideLayouts/slideLayout121.xml"/><Relationship Id="rId49" Type="http://schemas.openxmlformats.org/officeDocument/2006/relationships/slideLayout" Target="../slideLayouts/slideLayout134.xml"/><Relationship Id="rId57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16.xml"/><Relationship Id="rId44" Type="http://schemas.openxmlformats.org/officeDocument/2006/relationships/slideLayout" Target="../slideLayouts/slideLayout129.xml"/><Relationship Id="rId52" Type="http://schemas.openxmlformats.org/officeDocument/2006/relationships/slideLayout" Target="../slideLayouts/slideLayout137.xml"/><Relationship Id="rId60" Type="http://schemas.openxmlformats.org/officeDocument/2006/relationships/tags" Target="../tags/tag6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99099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347" imgH="348" progId="TCLayout.ActiveDocument.1">
                  <p:embed/>
                </p:oleObj>
              </mc:Choice>
              <mc:Fallback>
                <p:oleObj name="Слайд think-cell" r:id="rId2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8C2397F-F942-DC46-9EA6-5BB12E6C8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046" y="92890"/>
            <a:ext cx="10646026" cy="2925179"/>
          </a:xfrm>
          <a:prstGeom prst="rect">
            <a:avLst/>
          </a:prstGeom>
        </p:spPr>
        <p:txBody>
          <a:bodyPr vert="horz" wrap="square" lIns="0" tIns="0" rIns="0" bIns="0" anchor="t" anchorCtr="0"/>
          <a:lstStyle/>
          <a:p>
            <a:pPr marL="0" marR="0" lvl="0" indent="0" fontAlgn="auto">
              <a:lnSpc>
                <a:spcPct val="9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Образец заголовка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9AD94E1-42A0-9E20-1E49-410C1AA5D0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821072" y="6561683"/>
            <a:ext cx="1188637" cy="203427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lang="en-RU" sz="988" b="0" i="0" spc="33" baseline="0" smtClean="0">
                <a:latin typeface="MTS Text" panose="020B0306020102020303" pitchFamily="34" charset="0"/>
                <a:ea typeface="MTS Text" panose="020B0306020102020303" pitchFamily="34" charset="0"/>
              </a:defRPr>
            </a:lvl1pPr>
          </a:lstStyle>
          <a:p>
            <a:fld id="{3CE988F7-6ECB-F94F-8679-A0D42C8C5318}" type="datetimeFigureOut">
              <a:rPr lang="ru-RU" smtClean="0"/>
              <a:t>11.03.20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4096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1" r:id="rId18"/>
    <p:sldLayoutId id="2147483682" r:id="rId19"/>
    <p:sldLayoutId id="2147483683" r:id="rId20"/>
  </p:sldLayoutIdLst>
  <p:transition>
    <p:fade/>
  </p:transition>
  <p:txStyles>
    <p:titleStyle>
      <a:lvl1pPr algn="l" defTabSz="967527" rtl="0" eaLnBrk="1" latinLnBrk="0" hangingPunct="1">
        <a:spcBef>
          <a:spcPct val="0"/>
        </a:spcBef>
        <a:buNone/>
        <a:defRPr lang="ru-RU" sz="5127" b="0" i="0" kern="1200" cap="all" spc="-71" baseline="0" dirty="0">
          <a:solidFill>
            <a:schemeClr val="tx1"/>
          </a:solidFill>
          <a:latin typeface="MTS Wide Medium" panose="020B0306020102020303" pitchFamily="34" charset="0"/>
          <a:ea typeface="MTS Wide Medium" panose="020B0306020102020303" pitchFamily="34" charset="0"/>
          <a:cs typeface="Arial Black" charset="0"/>
        </a:defRPr>
      </a:lvl1pPr>
    </p:titleStyle>
    <p:bodyStyle>
      <a:lvl1pPr marL="362822" indent="-362822" algn="l" defTabSz="967527" rtl="0" eaLnBrk="1" latinLnBrk="0" hangingPunct="1">
        <a:spcBef>
          <a:spcPct val="20000"/>
        </a:spcBef>
        <a:buFont typeface="Arial" pitchFamily="34" charset="0"/>
        <a:buChar char="•"/>
        <a:defRPr sz="3387" kern="1200">
          <a:solidFill>
            <a:schemeClr val="tx1"/>
          </a:solidFill>
          <a:latin typeface="+mn-lt"/>
          <a:ea typeface="+mn-ea"/>
          <a:cs typeface="+mn-cs"/>
        </a:defRPr>
      </a:lvl1pPr>
      <a:lvl2pPr marL="786116" indent="-302353" algn="l" defTabSz="967527" rtl="0" eaLnBrk="1" latinLnBrk="0" hangingPunct="1">
        <a:spcBef>
          <a:spcPct val="20000"/>
        </a:spcBef>
        <a:buFont typeface="Arial" pitchFamily="34" charset="0"/>
        <a:buChar char="–"/>
        <a:defRPr sz="2963" kern="1200">
          <a:solidFill>
            <a:schemeClr val="tx1"/>
          </a:solidFill>
          <a:latin typeface="+mn-lt"/>
          <a:ea typeface="+mn-ea"/>
          <a:cs typeface="+mn-cs"/>
        </a:defRPr>
      </a:lvl2pPr>
      <a:lvl3pPr marL="1209407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540" kern="1200">
          <a:solidFill>
            <a:schemeClr val="tx1"/>
          </a:solidFill>
          <a:latin typeface="+mn-lt"/>
          <a:ea typeface="+mn-ea"/>
          <a:cs typeface="+mn-cs"/>
        </a:defRPr>
      </a:lvl3pPr>
      <a:lvl4pPr marL="1693171" indent="-241882" algn="l" defTabSz="967527" rtl="0" eaLnBrk="1" latinLnBrk="0" hangingPunct="1">
        <a:spcBef>
          <a:spcPct val="20000"/>
        </a:spcBef>
        <a:buFont typeface="Arial" pitchFamily="34" charset="0"/>
        <a:buChar char="–"/>
        <a:defRPr sz="2116" kern="1200">
          <a:solidFill>
            <a:schemeClr val="tx1"/>
          </a:solidFill>
          <a:latin typeface="+mn-lt"/>
          <a:ea typeface="+mn-ea"/>
          <a:cs typeface="+mn-cs"/>
        </a:defRPr>
      </a:lvl4pPr>
      <a:lvl5pPr marL="2176934" indent="-241882" algn="l" defTabSz="967527" rtl="0" eaLnBrk="1" latinLnBrk="0" hangingPunct="1">
        <a:spcBef>
          <a:spcPct val="20000"/>
        </a:spcBef>
        <a:buFont typeface="Arial" pitchFamily="34" charset="0"/>
        <a:buChar char="»"/>
        <a:defRPr sz="2116" kern="1200">
          <a:solidFill>
            <a:schemeClr val="tx1"/>
          </a:solidFill>
          <a:latin typeface="+mn-lt"/>
          <a:ea typeface="+mn-ea"/>
          <a:cs typeface="+mn-cs"/>
        </a:defRPr>
      </a:lvl5pPr>
      <a:lvl6pPr marL="2660697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4461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8223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1987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763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7527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1289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5053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8816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2579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6341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70105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BAE40"/>
          </p15:clr>
        </p15:guide>
        <p15:guide id="2" pos="16328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9184">
          <p15:clr>
            <a:srgbClr val="FBAE40"/>
          </p15:clr>
        </p15:guide>
        <p15:guide id="5" pos="255">
          <p15:clr>
            <a:srgbClr val="C35EA4"/>
          </p15:clr>
        </p15:guide>
        <p15:guide id="7" orient="horz" pos="349">
          <p15:clr>
            <a:srgbClr val="FDE53C"/>
          </p15:clr>
        </p15:guide>
        <p15:guide id="8" orient="horz" pos="8963">
          <p15:clr>
            <a:srgbClr val="FDE53C"/>
          </p15:clr>
        </p15:guide>
        <p15:guide id="36" orient="horz" pos="4592">
          <p15:clr>
            <a:srgbClr val="FDE53C"/>
          </p15:clr>
        </p15:guide>
        <p15:guide id="37" pos="1021">
          <p15:clr>
            <a:srgbClr val="5ACBF0"/>
          </p15:clr>
        </p15:guide>
        <p15:guide id="38" pos="1836">
          <p15:clr>
            <a:srgbClr val="5ACBF0"/>
          </p15:clr>
        </p15:guide>
        <p15:guide id="40" pos="2607">
          <p15:clr>
            <a:srgbClr val="5ACBF0"/>
          </p15:clr>
        </p15:guide>
        <p15:guide id="41" pos="3379">
          <p15:clr>
            <a:srgbClr val="5ACBF0"/>
          </p15:clr>
        </p15:guide>
        <p15:guide id="42" pos="4195">
          <p15:clr>
            <a:srgbClr val="5ACBF0"/>
          </p15:clr>
        </p15:guide>
        <p15:guide id="44" pos="4989">
          <p15:clr>
            <a:srgbClr val="5ACBF0"/>
          </p15:clr>
        </p15:guide>
        <p15:guide id="46" pos="6554">
          <p15:clr>
            <a:srgbClr val="5ACBF0"/>
          </p15:clr>
        </p15:guide>
        <p15:guide id="49" pos="5783">
          <p15:clr>
            <a:srgbClr val="5ACBF0"/>
          </p15:clr>
        </p15:guide>
        <p15:guide id="50" pos="8164">
          <p15:clr>
            <a:srgbClr val="5ACBF0"/>
          </p15:clr>
        </p15:guide>
        <p15:guide id="51" pos="7370">
          <p15:clr>
            <a:srgbClr val="5ACBF0"/>
          </p15:clr>
        </p15:guide>
        <p15:guide id="54" pos="8958">
          <p15:clr>
            <a:srgbClr val="5ACBF0"/>
          </p15:clr>
        </p15:guide>
        <p15:guide id="55" pos="9729">
          <p15:clr>
            <a:srgbClr val="5ACBF0"/>
          </p15:clr>
        </p15:guide>
        <p15:guide id="57" pos="10523">
          <p15:clr>
            <a:srgbClr val="5ACBF0"/>
          </p15:clr>
        </p15:guide>
        <p15:guide id="58" pos="11316">
          <p15:clr>
            <a:srgbClr val="5ACBF0"/>
          </p15:clr>
        </p15:guide>
        <p15:guide id="60" pos="12110">
          <p15:clr>
            <a:srgbClr val="5ACBF0"/>
          </p15:clr>
        </p15:guide>
        <p15:guide id="62" pos="16073">
          <p15:clr>
            <a:srgbClr val="C35EA4"/>
          </p15:clr>
        </p15:guide>
        <p15:guide id="63" pos="12904">
          <p15:clr>
            <a:srgbClr val="5ACBF0"/>
          </p15:clr>
        </p15:guide>
        <p15:guide id="64" pos="13675">
          <p15:clr>
            <a:srgbClr val="5ACBF0"/>
          </p15:clr>
        </p15:guide>
        <p15:guide id="66" pos="14492">
          <p15:clr>
            <a:srgbClr val="5ACBF0"/>
          </p15:clr>
        </p15:guide>
        <p15:guide id="67" pos="15285">
          <p15:clr>
            <a:srgbClr val="5ACBF0"/>
          </p15:clr>
        </p15:guide>
        <p15:guide id="68" orient="horz" pos="1020">
          <p15:clr>
            <a:srgbClr val="5ACBF0"/>
          </p15:clr>
        </p15:guide>
        <p15:guide id="69" orient="horz" pos="1443">
          <p15:clr>
            <a:srgbClr val="5ACBF0"/>
          </p15:clr>
        </p15:guide>
        <p15:guide id="70" orient="horz" pos="221">
          <p15:clr>
            <a:srgbClr val="FDE53C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3060331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8" imgW="347" imgH="348" progId="TCLayout.ActiveDocument.1">
                  <p:embed/>
                </p:oleObj>
              </mc:Choice>
              <mc:Fallback>
                <p:oleObj name="Слайд think-cell" r:id="rId68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BEF267-88AE-7328-8EC6-ABFFED5838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3988" y="148976"/>
            <a:ext cx="578386" cy="18188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RU" sz="988" b="0" i="0" smtClean="0">
                <a:solidFill>
                  <a:schemeClr val="bg2">
                    <a:lumMod val="75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  <a:cs typeface="Arial Black" charset="0"/>
              </a:defRPr>
            </a:lvl1pPr>
          </a:lstStyle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8C2397F-F942-DC46-9EA6-5BB12E6C8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07" y="784081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9574208-60C5-6FF5-D170-972CF8BF36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374" y="1722704"/>
            <a:ext cx="10514928" cy="4351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517194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808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3" r:id="rId40"/>
    <p:sldLayoutId id="2147483724" r:id="rId41"/>
    <p:sldLayoutId id="2147483725" r:id="rId42"/>
    <p:sldLayoutId id="2147483726" r:id="rId43"/>
    <p:sldLayoutId id="2147483727" r:id="rId44"/>
    <p:sldLayoutId id="2147483728" r:id="rId45"/>
    <p:sldLayoutId id="2147483729" r:id="rId46"/>
    <p:sldLayoutId id="2147483730" r:id="rId47"/>
    <p:sldLayoutId id="2147483731" r:id="rId48"/>
    <p:sldLayoutId id="2147483732" r:id="rId49"/>
    <p:sldLayoutId id="2147483733" r:id="rId50"/>
    <p:sldLayoutId id="2147483734" r:id="rId51"/>
    <p:sldLayoutId id="2147483735" r:id="rId52"/>
    <p:sldLayoutId id="2147483736" r:id="rId53"/>
    <p:sldLayoutId id="2147483737" r:id="rId54"/>
    <p:sldLayoutId id="2147483738" r:id="rId55"/>
    <p:sldLayoutId id="2147483739" r:id="rId56"/>
    <p:sldLayoutId id="2147483740" r:id="rId57"/>
    <p:sldLayoutId id="2147483741" r:id="rId58"/>
    <p:sldLayoutId id="2147483742" r:id="rId59"/>
    <p:sldLayoutId id="2147483743" r:id="rId60"/>
    <p:sldLayoutId id="2147483744" r:id="rId61"/>
    <p:sldLayoutId id="2147483745" r:id="rId62"/>
    <p:sldLayoutId id="2147483746" r:id="rId63"/>
    <p:sldLayoutId id="2147483747" r:id="rId64"/>
    <p:sldLayoutId id="2147483748" r:id="rId65"/>
  </p:sldLayoutIdLst>
  <p:transition>
    <p:fade/>
  </p:transition>
  <p:hf hdr="0"/>
  <p:txStyles>
    <p:titleStyle>
      <a:lvl1pPr algn="l" defTabSz="967527" rtl="0" eaLnBrk="1" latinLnBrk="0" hangingPunct="1">
        <a:lnSpc>
          <a:spcPct val="80000"/>
        </a:lnSpc>
        <a:spcBef>
          <a:spcPct val="0"/>
        </a:spcBef>
        <a:buNone/>
        <a:defRPr lang="ru-RU" sz="2869" b="0" i="0" kern="1200" cap="none" spc="107" baseline="0">
          <a:solidFill>
            <a:schemeClr val="tx1"/>
          </a:solidFill>
          <a:latin typeface="MTS Wide Medium" panose="020B0306020102020303" pitchFamily="34" charset="0"/>
          <a:ea typeface="MTS Wide Medium" panose="020B0306020102020303" pitchFamily="34" charset="0"/>
          <a:cs typeface="Arial Black" charset="0"/>
        </a:defRPr>
      </a:lvl1pPr>
    </p:titleStyle>
    <p:bodyStyle>
      <a:lvl1pPr marL="0" indent="0" algn="l" defTabSz="967527" rtl="0" eaLnBrk="1" latinLnBrk="0" hangingPunct="1">
        <a:spcBef>
          <a:spcPct val="20000"/>
        </a:spcBef>
        <a:buFontTx/>
        <a:buNone/>
        <a:defRPr sz="3387" b="0" i="0" kern="1200">
          <a:solidFill>
            <a:schemeClr val="tx1"/>
          </a:solidFill>
          <a:latin typeface="MTS Text" panose="020B0306020102020303" pitchFamily="34" charset="0"/>
          <a:ea typeface="MTS Text" panose="020B0306020102020303" pitchFamily="34" charset="0"/>
          <a:cs typeface="+mn-cs"/>
        </a:defRPr>
      </a:lvl1pPr>
      <a:lvl2pPr marL="483763" indent="0" algn="l" defTabSz="967527" rtl="0" eaLnBrk="1" latinLnBrk="0" hangingPunct="1">
        <a:spcBef>
          <a:spcPct val="20000"/>
        </a:spcBef>
        <a:buFontTx/>
        <a:buNone/>
        <a:defRPr sz="2963" b="0" i="0" kern="1200">
          <a:solidFill>
            <a:schemeClr val="tx1"/>
          </a:solidFill>
          <a:latin typeface="MTS Text" panose="020B0306020102020303" pitchFamily="34" charset="0"/>
          <a:ea typeface="MTS Text" panose="020B0306020102020303" pitchFamily="34" charset="0"/>
          <a:cs typeface="+mn-cs"/>
        </a:defRPr>
      </a:lvl2pPr>
      <a:lvl3pPr marL="967525" indent="0" algn="l" defTabSz="967527" rtl="0" eaLnBrk="1" latinLnBrk="0" hangingPunct="1">
        <a:spcBef>
          <a:spcPct val="20000"/>
        </a:spcBef>
        <a:buFontTx/>
        <a:buNone/>
        <a:defRPr sz="2540" b="0" i="0" kern="1200">
          <a:solidFill>
            <a:schemeClr val="tx1"/>
          </a:solidFill>
          <a:latin typeface="MTS Text" panose="020B0306020102020303" pitchFamily="34" charset="0"/>
          <a:ea typeface="MTS Text" panose="020B0306020102020303" pitchFamily="34" charset="0"/>
          <a:cs typeface="+mn-cs"/>
        </a:defRPr>
      </a:lvl3pPr>
      <a:lvl4pPr marL="1451289" indent="0" algn="l" defTabSz="967527" rtl="0" eaLnBrk="1" latinLnBrk="0" hangingPunct="1">
        <a:spcBef>
          <a:spcPct val="20000"/>
        </a:spcBef>
        <a:buFontTx/>
        <a:buNone/>
        <a:defRPr sz="2116" b="0" i="0" kern="1200">
          <a:solidFill>
            <a:schemeClr val="tx1"/>
          </a:solidFill>
          <a:latin typeface="MTS Text" panose="020B0306020102020303" pitchFamily="34" charset="0"/>
          <a:ea typeface="MTS Text" panose="020B0306020102020303" pitchFamily="34" charset="0"/>
          <a:cs typeface="+mn-cs"/>
        </a:defRPr>
      </a:lvl4pPr>
      <a:lvl5pPr marL="1935052" indent="0" algn="l" defTabSz="967527" rtl="0" eaLnBrk="1" latinLnBrk="0" hangingPunct="1">
        <a:spcBef>
          <a:spcPct val="20000"/>
        </a:spcBef>
        <a:buFontTx/>
        <a:buNone/>
        <a:defRPr sz="2116" b="0" i="0" kern="1200">
          <a:solidFill>
            <a:schemeClr val="tx1"/>
          </a:solidFill>
          <a:latin typeface="MTS Text" panose="020B0306020102020303" pitchFamily="34" charset="0"/>
          <a:ea typeface="MTS Text" panose="020B0306020102020303" pitchFamily="34" charset="0"/>
          <a:cs typeface="+mn-cs"/>
        </a:defRPr>
      </a:lvl5pPr>
      <a:lvl6pPr marL="2660697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4461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8223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1987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763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7527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1289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5053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8816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2579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6341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70105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BAE40"/>
          </p15:clr>
        </p15:guide>
        <p15:guide id="2" pos="16328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9184">
          <p15:clr>
            <a:srgbClr val="FBAE40"/>
          </p15:clr>
        </p15:guide>
        <p15:guide id="5" pos="249">
          <p15:clr>
            <a:srgbClr val="C35EA4"/>
          </p15:clr>
        </p15:guide>
        <p15:guide id="7" orient="horz" pos="349">
          <p15:clr>
            <a:srgbClr val="FDE53C"/>
          </p15:clr>
        </p15:guide>
        <p15:guide id="8" orient="horz" pos="8963">
          <p15:clr>
            <a:srgbClr val="FDE53C"/>
          </p15:clr>
        </p15:guide>
        <p15:guide id="36" orient="horz" pos="4592">
          <p15:clr>
            <a:srgbClr val="FDE53C"/>
          </p15:clr>
        </p15:guide>
        <p15:guide id="37" pos="1021">
          <p15:clr>
            <a:srgbClr val="5ACBF0"/>
          </p15:clr>
        </p15:guide>
        <p15:guide id="38" pos="1836">
          <p15:clr>
            <a:srgbClr val="5ACBF0"/>
          </p15:clr>
        </p15:guide>
        <p15:guide id="40" pos="2607">
          <p15:clr>
            <a:srgbClr val="5ACBF0"/>
          </p15:clr>
        </p15:guide>
        <p15:guide id="41" pos="3401">
          <p15:clr>
            <a:srgbClr val="5ACBF0"/>
          </p15:clr>
        </p15:guide>
        <p15:guide id="42" pos="4195">
          <p15:clr>
            <a:srgbClr val="5ACBF0"/>
          </p15:clr>
        </p15:guide>
        <p15:guide id="44" pos="4989">
          <p15:clr>
            <a:srgbClr val="5ACBF0"/>
          </p15:clr>
        </p15:guide>
        <p15:guide id="46" pos="6554">
          <p15:clr>
            <a:srgbClr val="5ACBF0"/>
          </p15:clr>
        </p15:guide>
        <p15:guide id="49" pos="5783">
          <p15:clr>
            <a:srgbClr val="5ACBF0"/>
          </p15:clr>
        </p15:guide>
        <p15:guide id="50" pos="8164">
          <p15:clr>
            <a:srgbClr val="5ACBF0"/>
          </p15:clr>
        </p15:guide>
        <p15:guide id="51" pos="7370">
          <p15:clr>
            <a:srgbClr val="5ACBF0"/>
          </p15:clr>
        </p15:guide>
        <p15:guide id="54" pos="8958">
          <p15:clr>
            <a:srgbClr val="5ACBF0"/>
          </p15:clr>
        </p15:guide>
        <p15:guide id="55" pos="9729">
          <p15:clr>
            <a:srgbClr val="5ACBF0"/>
          </p15:clr>
        </p15:guide>
        <p15:guide id="57" pos="10523">
          <p15:clr>
            <a:srgbClr val="5ACBF0"/>
          </p15:clr>
        </p15:guide>
        <p15:guide id="58" pos="11316">
          <p15:clr>
            <a:srgbClr val="5ACBF0"/>
          </p15:clr>
        </p15:guide>
        <p15:guide id="60" pos="12110">
          <p15:clr>
            <a:srgbClr val="5ACBF0"/>
          </p15:clr>
        </p15:guide>
        <p15:guide id="62" pos="16073">
          <p15:clr>
            <a:srgbClr val="C35EA4"/>
          </p15:clr>
        </p15:guide>
        <p15:guide id="63" pos="12904">
          <p15:clr>
            <a:srgbClr val="5ACBF0"/>
          </p15:clr>
        </p15:guide>
        <p15:guide id="64" pos="13675">
          <p15:clr>
            <a:srgbClr val="5ACBF0"/>
          </p15:clr>
        </p15:guide>
        <p15:guide id="66" pos="14492">
          <p15:clr>
            <a:srgbClr val="5ACBF0"/>
          </p15:clr>
        </p15:guide>
        <p15:guide id="67" pos="15285">
          <p15:clr>
            <a:srgbClr val="5ACBF0"/>
          </p15:clr>
        </p15:guide>
        <p15:guide id="68" orient="horz" pos="1020">
          <p15:clr>
            <a:srgbClr val="5ACBF0"/>
          </p15:clr>
        </p15:guide>
        <p15:guide id="69" orient="horz" pos="1443">
          <p15:clr>
            <a:srgbClr val="5ACBF0"/>
          </p15:clr>
        </p15:guide>
        <p15:guide id="70" orient="horz" pos="221">
          <p15:clr>
            <a:srgbClr val="FDE53C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3766599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1" imgW="347" imgH="348" progId="TCLayout.ActiveDocument.1">
                  <p:embed/>
                </p:oleObj>
              </mc:Choice>
              <mc:Fallback>
                <p:oleObj name="Слайд think-cell" r:id="rId61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BEF267-88AE-7328-8EC6-ABFFED5838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3988" y="148976"/>
            <a:ext cx="578386" cy="18188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RU" sz="988" b="0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MTS Text" panose="020B0306020102020303" pitchFamily="34" charset="0"/>
                <a:ea typeface="MTS Text" panose="020B0306020102020303" pitchFamily="34" charset="0"/>
                <a:cs typeface="Arial Black" charset="0"/>
              </a:defRPr>
            </a:lvl1pPr>
          </a:lstStyle>
          <a:p>
            <a:pPr defTabSz="430134"/>
            <a:fld id="{A7E88AC1-0904-3C47-875C-3F6E82802988}" type="slidenum">
              <a:rPr lang="ru-RU" smtClean="0"/>
              <a:pPr defTabSz="430134"/>
              <a:t>‹#›</a:t>
            </a:fld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8C2397F-F942-DC46-9EA6-5BB12E6C8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407" y="784081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9574208-60C5-6FF5-D170-972CF8BF36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374" y="1722704"/>
            <a:ext cx="10514928" cy="4351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792949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5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  <p:sldLayoutId id="2147483782" r:id="rId33"/>
    <p:sldLayoutId id="2147483783" r:id="rId34"/>
    <p:sldLayoutId id="2147483784" r:id="rId35"/>
    <p:sldLayoutId id="2147483785" r:id="rId36"/>
    <p:sldLayoutId id="2147483786" r:id="rId37"/>
    <p:sldLayoutId id="2147483787" r:id="rId38"/>
    <p:sldLayoutId id="2147483788" r:id="rId39"/>
    <p:sldLayoutId id="2147483789" r:id="rId40"/>
    <p:sldLayoutId id="2147483790" r:id="rId41"/>
    <p:sldLayoutId id="2147483791" r:id="rId42"/>
    <p:sldLayoutId id="2147483792" r:id="rId43"/>
    <p:sldLayoutId id="2147483793" r:id="rId44"/>
    <p:sldLayoutId id="2147483794" r:id="rId45"/>
    <p:sldLayoutId id="2147483795" r:id="rId46"/>
    <p:sldLayoutId id="2147483796" r:id="rId47"/>
    <p:sldLayoutId id="2147483797" r:id="rId48"/>
    <p:sldLayoutId id="2147483798" r:id="rId49"/>
    <p:sldLayoutId id="2147483799" r:id="rId50"/>
    <p:sldLayoutId id="2147483800" r:id="rId51"/>
    <p:sldLayoutId id="2147483801" r:id="rId52"/>
    <p:sldLayoutId id="2147483802" r:id="rId53"/>
    <p:sldLayoutId id="2147483803" r:id="rId54"/>
    <p:sldLayoutId id="2147483804" r:id="rId55"/>
    <p:sldLayoutId id="2147483805" r:id="rId56"/>
    <p:sldLayoutId id="2147483806" r:id="rId57"/>
    <p:sldLayoutId id="2147483807" r:id="rId58"/>
  </p:sldLayoutIdLst>
  <p:transition>
    <p:fade/>
  </p:transition>
  <p:hf hdr="0"/>
  <p:txStyles>
    <p:titleStyle>
      <a:lvl1pPr algn="l" defTabSz="967527" rtl="0" eaLnBrk="1" latinLnBrk="0" hangingPunct="1">
        <a:lnSpc>
          <a:spcPct val="80000"/>
        </a:lnSpc>
        <a:spcBef>
          <a:spcPct val="0"/>
        </a:spcBef>
        <a:buNone/>
        <a:defRPr lang="ru-RU" sz="2869" b="0" i="0" kern="1200" cap="none" spc="107" baseline="0">
          <a:solidFill>
            <a:schemeClr val="bg1"/>
          </a:solidFill>
          <a:latin typeface="MTS Wide Medium" panose="020B0306020102020303" pitchFamily="34" charset="0"/>
          <a:ea typeface="MTS Wide Medium" panose="020B0306020102020303" pitchFamily="34" charset="0"/>
          <a:cs typeface="Arial Black" charset="0"/>
        </a:defRPr>
      </a:lvl1pPr>
    </p:titleStyle>
    <p:bodyStyle>
      <a:lvl1pPr marL="0" indent="0" algn="l" defTabSz="967527" rtl="0" eaLnBrk="1" latinLnBrk="0" hangingPunct="1">
        <a:spcBef>
          <a:spcPct val="20000"/>
        </a:spcBef>
        <a:buFontTx/>
        <a:buNone/>
        <a:defRPr sz="3387" b="0" i="0" kern="1200">
          <a:solidFill>
            <a:schemeClr val="bg1"/>
          </a:solidFill>
          <a:latin typeface="MTS Text" panose="020B0306020102020303" pitchFamily="34" charset="0"/>
          <a:ea typeface="MTS Text" panose="020B0306020102020303" pitchFamily="34" charset="0"/>
          <a:cs typeface="+mn-cs"/>
        </a:defRPr>
      </a:lvl1pPr>
      <a:lvl2pPr marL="483763" indent="0" algn="l" defTabSz="967527" rtl="0" eaLnBrk="1" latinLnBrk="0" hangingPunct="1">
        <a:spcBef>
          <a:spcPct val="20000"/>
        </a:spcBef>
        <a:buFontTx/>
        <a:buNone/>
        <a:defRPr sz="2963" b="0" i="0" kern="1200">
          <a:solidFill>
            <a:schemeClr val="bg1"/>
          </a:solidFill>
          <a:latin typeface="MTS Text" panose="020B0306020102020303" pitchFamily="34" charset="0"/>
          <a:ea typeface="MTS Text" panose="020B0306020102020303" pitchFamily="34" charset="0"/>
          <a:cs typeface="+mn-cs"/>
        </a:defRPr>
      </a:lvl2pPr>
      <a:lvl3pPr marL="967525" indent="0" algn="l" defTabSz="967527" rtl="0" eaLnBrk="1" latinLnBrk="0" hangingPunct="1">
        <a:spcBef>
          <a:spcPct val="20000"/>
        </a:spcBef>
        <a:buFontTx/>
        <a:buNone/>
        <a:defRPr sz="2540" b="0" i="0" kern="1200">
          <a:solidFill>
            <a:schemeClr val="bg1"/>
          </a:solidFill>
          <a:latin typeface="MTS Text" panose="020B0306020102020303" pitchFamily="34" charset="0"/>
          <a:ea typeface="MTS Text" panose="020B0306020102020303" pitchFamily="34" charset="0"/>
          <a:cs typeface="+mn-cs"/>
        </a:defRPr>
      </a:lvl3pPr>
      <a:lvl4pPr marL="1451289" indent="0" algn="l" defTabSz="967527" rtl="0" eaLnBrk="1" latinLnBrk="0" hangingPunct="1">
        <a:spcBef>
          <a:spcPct val="20000"/>
        </a:spcBef>
        <a:buFontTx/>
        <a:buNone/>
        <a:defRPr sz="2116" b="0" i="0" kern="1200">
          <a:solidFill>
            <a:schemeClr val="bg1"/>
          </a:solidFill>
          <a:latin typeface="MTS Text" panose="020B0306020102020303" pitchFamily="34" charset="0"/>
          <a:ea typeface="MTS Text" panose="020B0306020102020303" pitchFamily="34" charset="0"/>
          <a:cs typeface="+mn-cs"/>
        </a:defRPr>
      </a:lvl4pPr>
      <a:lvl5pPr marL="1935052" indent="0" algn="l" defTabSz="967527" rtl="0" eaLnBrk="1" latinLnBrk="0" hangingPunct="1">
        <a:spcBef>
          <a:spcPct val="20000"/>
        </a:spcBef>
        <a:buFontTx/>
        <a:buNone/>
        <a:defRPr sz="2116" b="0" i="0" kern="1200">
          <a:solidFill>
            <a:schemeClr val="bg1"/>
          </a:solidFill>
          <a:latin typeface="MTS Text" panose="020B0306020102020303" pitchFamily="34" charset="0"/>
          <a:ea typeface="MTS Text" panose="020B0306020102020303" pitchFamily="34" charset="0"/>
          <a:cs typeface="+mn-cs"/>
        </a:defRPr>
      </a:lvl5pPr>
      <a:lvl6pPr marL="2660697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4461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8223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1987" indent="-241882" algn="l" defTabSz="967527" rtl="0" eaLnBrk="1" latinLnBrk="0" hangingPunct="1">
        <a:spcBef>
          <a:spcPct val="20000"/>
        </a:spcBef>
        <a:buFont typeface="Arial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763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7527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1289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5053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8816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2579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6341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70105" algn="l" defTabSz="967527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BAE40"/>
          </p15:clr>
        </p15:guide>
        <p15:guide id="2" pos="16328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9184">
          <p15:clr>
            <a:srgbClr val="FBAE40"/>
          </p15:clr>
        </p15:guide>
        <p15:guide id="5" pos="249">
          <p15:clr>
            <a:srgbClr val="C35EA4"/>
          </p15:clr>
        </p15:guide>
        <p15:guide id="7" orient="horz" pos="349">
          <p15:clr>
            <a:srgbClr val="FDE53C"/>
          </p15:clr>
        </p15:guide>
        <p15:guide id="8" orient="horz" pos="8963">
          <p15:clr>
            <a:srgbClr val="FDE53C"/>
          </p15:clr>
        </p15:guide>
        <p15:guide id="36" orient="horz" pos="4592">
          <p15:clr>
            <a:srgbClr val="FDE53C"/>
          </p15:clr>
        </p15:guide>
        <p15:guide id="37" pos="1021">
          <p15:clr>
            <a:srgbClr val="5ACBF0"/>
          </p15:clr>
        </p15:guide>
        <p15:guide id="38" pos="1836">
          <p15:clr>
            <a:srgbClr val="5ACBF0"/>
          </p15:clr>
        </p15:guide>
        <p15:guide id="40" pos="2607">
          <p15:clr>
            <a:srgbClr val="5ACBF0"/>
          </p15:clr>
        </p15:guide>
        <p15:guide id="41" pos="3401">
          <p15:clr>
            <a:srgbClr val="5ACBF0"/>
          </p15:clr>
        </p15:guide>
        <p15:guide id="42" pos="4195">
          <p15:clr>
            <a:srgbClr val="5ACBF0"/>
          </p15:clr>
        </p15:guide>
        <p15:guide id="44" pos="4989">
          <p15:clr>
            <a:srgbClr val="5ACBF0"/>
          </p15:clr>
        </p15:guide>
        <p15:guide id="46" pos="6554">
          <p15:clr>
            <a:srgbClr val="5ACBF0"/>
          </p15:clr>
        </p15:guide>
        <p15:guide id="49" pos="5783">
          <p15:clr>
            <a:srgbClr val="5ACBF0"/>
          </p15:clr>
        </p15:guide>
        <p15:guide id="50" pos="8164">
          <p15:clr>
            <a:srgbClr val="5ACBF0"/>
          </p15:clr>
        </p15:guide>
        <p15:guide id="51" pos="7370">
          <p15:clr>
            <a:srgbClr val="5ACBF0"/>
          </p15:clr>
        </p15:guide>
        <p15:guide id="54" pos="8958">
          <p15:clr>
            <a:srgbClr val="5ACBF0"/>
          </p15:clr>
        </p15:guide>
        <p15:guide id="55" pos="9729">
          <p15:clr>
            <a:srgbClr val="5ACBF0"/>
          </p15:clr>
        </p15:guide>
        <p15:guide id="57" pos="10523">
          <p15:clr>
            <a:srgbClr val="5ACBF0"/>
          </p15:clr>
        </p15:guide>
        <p15:guide id="58" pos="11316">
          <p15:clr>
            <a:srgbClr val="5ACBF0"/>
          </p15:clr>
        </p15:guide>
        <p15:guide id="60" pos="12110">
          <p15:clr>
            <a:srgbClr val="5ACBF0"/>
          </p15:clr>
        </p15:guide>
        <p15:guide id="62" pos="16073">
          <p15:clr>
            <a:srgbClr val="C35EA4"/>
          </p15:clr>
        </p15:guide>
        <p15:guide id="63" pos="12904">
          <p15:clr>
            <a:srgbClr val="5ACBF0"/>
          </p15:clr>
        </p15:guide>
        <p15:guide id="64" pos="13675">
          <p15:clr>
            <a:srgbClr val="5ACBF0"/>
          </p15:clr>
        </p15:guide>
        <p15:guide id="66" pos="14492">
          <p15:clr>
            <a:srgbClr val="5ACBF0"/>
          </p15:clr>
        </p15:guide>
        <p15:guide id="67" pos="15285">
          <p15:clr>
            <a:srgbClr val="5ACBF0"/>
          </p15:clr>
        </p15:guide>
        <p15:guide id="68" orient="horz" pos="1020">
          <p15:clr>
            <a:srgbClr val="5ACBF0"/>
          </p15:clr>
        </p15:guide>
        <p15:guide id="69" orient="horz" pos="1443">
          <p15:clr>
            <a:srgbClr val="5ACBF0"/>
          </p15:clr>
        </p15:guide>
        <p15:guide id="70" orient="horz" pos="221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jpeg"/><Relationship Id="rId9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09A3A0E1-4168-571A-9CD9-7FC755A9D321}"/>
              </a:ext>
            </a:extLst>
          </p:cNvPr>
          <p:cNvGrpSpPr/>
          <p:nvPr/>
        </p:nvGrpSpPr>
        <p:grpSpPr>
          <a:xfrm>
            <a:off x="5127383" y="2258110"/>
            <a:ext cx="1765901" cy="1740543"/>
            <a:chOff x="21540109" y="558527"/>
            <a:chExt cx="1637391" cy="163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4565832-D859-5D71-1EBA-7D8B78B742A5}"/>
                </a:ext>
              </a:extLst>
            </p:cNvPr>
            <p:cNvSpPr/>
            <p:nvPr userDrawn="1"/>
          </p:nvSpPr>
          <p:spPr>
            <a:xfrm>
              <a:off x="21540109" y="558527"/>
              <a:ext cx="1637391" cy="1638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RU" sz="1400" dirty="0" err="1"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0B01AE81-473E-90D3-15D5-6590F2234B36}"/>
                </a:ext>
              </a:extLst>
            </p:cNvPr>
            <p:cNvSpPr/>
            <p:nvPr/>
          </p:nvSpPr>
          <p:spPr>
            <a:xfrm>
              <a:off x="22630884" y="683378"/>
              <a:ext cx="421355" cy="380147"/>
            </a:xfrm>
            <a:custGeom>
              <a:avLst/>
              <a:gdLst>
                <a:gd name="connsiteX0" fmla="*/ 0 w 421355"/>
                <a:gd name="connsiteY0" fmla="*/ 0 h 380147"/>
                <a:gd name="connsiteX1" fmla="*/ 0 w 421355"/>
                <a:gd name="connsiteY1" fmla="*/ 76412 h 380147"/>
                <a:gd name="connsiteX2" fmla="*/ 164694 w 421355"/>
                <a:gd name="connsiteY2" fmla="*/ 76412 h 380147"/>
                <a:gd name="connsiteX3" fmla="*/ 164694 w 421355"/>
                <a:gd name="connsiteY3" fmla="*/ 375235 h 380147"/>
                <a:gd name="connsiteX4" fmla="*/ 164694 w 421355"/>
                <a:gd name="connsiteY4" fmla="*/ 380148 h 380147"/>
                <a:gd name="connsiteX5" fmla="*/ 256797 w 421355"/>
                <a:gd name="connsiteY5" fmla="*/ 380148 h 380147"/>
                <a:gd name="connsiteX6" fmla="*/ 256797 w 421355"/>
                <a:gd name="connsiteY6" fmla="*/ 76412 h 380147"/>
                <a:gd name="connsiteX7" fmla="*/ 421355 w 421355"/>
                <a:gd name="connsiteY7" fmla="*/ 76412 h 380147"/>
                <a:gd name="connsiteX8" fmla="*/ 421355 w 421355"/>
                <a:gd name="connsiteY8" fmla="*/ 0 h 380147"/>
                <a:gd name="connsiteX9" fmla="*/ 0 w 421355"/>
                <a:gd name="connsiteY9" fmla="*/ 0 h 380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1355" h="380147">
                  <a:moveTo>
                    <a:pt x="0" y="0"/>
                  </a:moveTo>
                  <a:lnTo>
                    <a:pt x="0" y="76412"/>
                  </a:lnTo>
                  <a:lnTo>
                    <a:pt x="164694" y="76412"/>
                  </a:lnTo>
                  <a:lnTo>
                    <a:pt x="164694" y="375235"/>
                  </a:lnTo>
                  <a:lnTo>
                    <a:pt x="164694" y="380148"/>
                  </a:lnTo>
                  <a:lnTo>
                    <a:pt x="256797" y="380148"/>
                  </a:lnTo>
                  <a:lnTo>
                    <a:pt x="256797" y="76412"/>
                  </a:lnTo>
                  <a:lnTo>
                    <a:pt x="421355" y="76412"/>
                  </a:lnTo>
                  <a:lnTo>
                    <a:pt x="421355" y="0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2033378E-D784-8235-C829-D25B46216E4D}"/>
                </a:ext>
              </a:extLst>
            </p:cNvPr>
            <p:cNvSpPr/>
            <p:nvPr/>
          </p:nvSpPr>
          <p:spPr>
            <a:xfrm>
              <a:off x="21666188" y="684469"/>
              <a:ext cx="503634" cy="377827"/>
            </a:xfrm>
            <a:custGeom>
              <a:avLst/>
              <a:gdLst>
                <a:gd name="connsiteX0" fmla="*/ 372097 w 503634"/>
                <a:gd name="connsiteY0" fmla="*/ 0 h 377827"/>
                <a:gd name="connsiteX1" fmla="*/ 251749 w 503634"/>
                <a:gd name="connsiteY1" fmla="*/ 249975 h 377827"/>
                <a:gd name="connsiteX2" fmla="*/ 131401 w 503634"/>
                <a:gd name="connsiteY2" fmla="*/ 0 h 377827"/>
                <a:gd name="connsiteX3" fmla="*/ 0 w 503634"/>
                <a:gd name="connsiteY3" fmla="*/ 0 h 377827"/>
                <a:gd name="connsiteX4" fmla="*/ 0 w 503634"/>
                <a:gd name="connsiteY4" fmla="*/ 377828 h 377827"/>
                <a:gd name="connsiteX5" fmla="*/ 92103 w 503634"/>
                <a:gd name="connsiteY5" fmla="*/ 377828 h 377827"/>
                <a:gd name="connsiteX6" fmla="*/ 92103 w 503634"/>
                <a:gd name="connsiteY6" fmla="*/ 107522 h 377827"/>
                <a:gd name="connsiteX7" fmla="*/ 209859 w 503634"/>
                <a:gd name="connsiteY7" fmla="*/ 335938 h 377827"/>
                <a:gd name="connsiteX8" fmla="*/ 293775 w 503634"/>
                <a:gd name="connsiteY8" fmla="*/ 335938 h 377827"/>
                <a:gd name="connsiteX9" fmla="*/ 411531 w 503634"/>
                <a:gd name="connsiteY9" fmla="*/ 107522 h 377827"/>
                <a:gd name="connsiteX10" fmla="*/ 411531 w 503634"/>
                <a:gd name="connsiteY10" fmla="*/ 377828 h 377827"/>
                <a:gd name="connsiteX11" fmla="*/ 503634 w 503634"/>
                <a:gd name="connsiteY11" fmla="*/ 377828 h 377827"/>
                <a:gd name="connsiteX12" fmla="*/ 503634 w 503634"/>
                <a:gd name="connsiteY12" fmla="*/ 0 h 377827"/>
                <a:gd name="connsiteX13" fmla="*/ 372097 w 503634"/>
                <a:gd name="connsiteY13" fmla="*/ 0 h 37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3634" h="377827">
                  <a:moveTo>
                    <a:pt x="372097" y="0"/>
                  </a:moveTo>
                  <a:lnTo>
                    <a:pt x="251749" y="249975"/>
                  </a:lnTo>
                  <a:lnTo>
                    <a:pt x="131401" y="0"/>
                  </a:lnTo>
                  <a:lnTo>
                    <a:pt x="0" y="0"/>
                  </a:lnTo>
                  <a:lnTo>
                    <a:pt x="0" y="377828"/>
                  </a:lnTo>
                  <a:lnTo>
                    <a:pt x="92103" y="377828"/>
                  </a:lnTo>
                  <a:lnTo>
                    <a:pt x="92103" y="107522"/>
                  </a:lnTo>
                  <a:lnTo>
                    <a:pt x="209859" y="335938"/>
                  </a:lnTo>
                  <a:lnTo>
                    <a:pt x="293775" y="335938"/>
                  </a:lnTo>
                  <a:lnTo>
                    <a:pt x="411531" y="107522"/>
                  </a:lnTo>
                  <a:lnTo>
                    <a:pt x="411531" y="377828"/>
                  </a:lnTo>
                  <a:lnTo>
                    <a:pt x="503634" y="377828"/>
                  </a:lnTo>
                  <a:lnTo>
                    <a:pt x="503634" y="0"/>
                  </a:lnTo>
                  <a:lnTo>
                    <a:pt x="372097" y="0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44DAE1A6-3A7F-12EB-556D-C5EA4B4BB63F}"/>
                </a:ext>
              </a:extLst>
            </p:cNvPr>
            <p:cNvSpPr/>
            <p:nvPr/>
          </p:nvSpPr>
          <p:spPr>
            <a:xfrm>
              <a:off x="22631020" y="1683754"/>
              <a:ext cx="420946" cy="394205"/>
            </a:xfrm>
            <a:custGeom>
              <a:avLst/>
              <a:gdLst>
                <a:gd name="connsiteX0" fmla="*/ 328843 w 420946"/>
                <a:gd name="connsiteY0" fmla="*/ 260278 h 394205"/>
                <a:gd name="connsiteX1" fmla="*/ 310831 w 420946"/>
                <a:gd name="connsiteY1" fmla="*/ 297119 h 394205"/>
                <a:gd name="connsiteX2" fmla="*/ 273990 w 420946"/>
                <a:gd name="connsiteY2" fmla="*/ 315676 h 394205"/>
                <a:gd name="connsiteX3" fmla="*/ 212997 w 420946"/>
                <a:gd name="connsiteY3" fmla="*/ 321134 h 394205"/>
                <a:gd name="connsiteX4" fmla="*/ 148730 w 420946"/>
                <a:gd name="connsiteY4" fmla="*/ 311719 h 394205"/>
                <a:gd name="connsiteX5" fmla="*/ 106976 w 420946"/>
                <a:gd name="connsiteY5" fmla="*/ 280200 h 394205"/>
                <a:gd name="connsiteX6" fmla="*/ 91967 w 420946"/>
                <a:gd name="connsiteY6" fmla="*/ 216614 h 394205"/>
                <a:gd name="connsiteX7" fmla="*/ 91967 w 420946"/>
                <a:gd name="connsiteY7" fmla="*/ 177863 h 394205"/>
                <a:gd name="connsiteX8" fmla="*/ 106976 w 420946"/>
                <a:gd name="connsiteY8" fmla="*/ 114004 h 394205"/>
                <a:gd name="connsiteX9" fmla="*/ 148593 w 420946"/>
                <a:gd name="connsiteY9" fmla="*/ 82621 h 394205"/>
                <a:gd name="connsiteX10" fmla="*/ 212861 w 420946"/>
                <a:gd name="connsiteY10" fmla="*/ 73206 h 394205"/>
                <a:gd name="connsiteX11" fmla="*/ 273854 w 420946"/>
                <a:gd name="connsiteY11" fmla="*/ 78800 h 394205"/>
                <a:gd name="connsiteX12" fmla="*/ 310695 w 420946"/>
                <a:gd name="connsiteY12" fmla="*/ 97358 h 394205"/>
                <a:gd name="connsiteX13" fmla="*/ 328706 w 420946"/>
                <a:gd name="connsiteY13" fmla="*/ 134199 h 394205"/>
                <a:gd name="connsiteX14" fmla="*/ 420946 w 420946"/>
                <a:gd name="connsiteY14" fmla="*/ 134199 h 394205"/>
                <a:gd name="connsiteX15" fmla="*/ 389426 w 420946"/>
                <a:gd name="connsiteY15" fmla="*/ 55195 h 394205"/>
                <a:gd name="connsiteX16" fmla="*/ 320110 w 420946"/>
                <a:gd name="connsiteY16" fmla="*/ 12896 h 394205"/>
                <a:gd name="connsiteX17" fmla="*/ 212997 w 420946"/>
                <a:gd name="connsiteY17" fmla="*/ 69 h 394205"/>
                <a:gd name="connsiteX18" fmla="*/ 99062 w 420946"/>
                <a:gd name="connsiteY18" fmla="*/ 18899 h 394205"/>
                <a:gd name="connsiteX19" fmla="*/ 25380 w 420946"/>
                <a:gd name="connsiteY19" fmla="*/ 81939 h 394205"/>
                <a:gd name="connsiteX20" fmla="*/ 0 w 420946"/>
                <a:gd name="connsiteY20" fmla="*/ 192736 h 394205"/>
                <a:gd name="connsiteX21" fmla="*/ 0 w 420946"/>
                <a:gd name="connsiteY21" fmla="*/ 196966 h 394205"/>
                <a:gd name="connsiteX22" fmla="*/ 4912 w 420946"/>
                <a:gd name="connsiteY22" fmla="*/ 197102 h 394205"/>
                <a:gd name="connsiteX23" fmla="*/ 0 w 420946"/>
                <a:gd name="connsiteY23" fmla="*/ 197102 h 394205"/>
                <a:gd name="connsiteX24" fmla="*/ 0 w 420946"/>
                <a:gd name="connsiteY24" fmla="*/ 201332 h 394205"/>
                <a:gd name="connsiteX25" fmla="*/ 25380 w 420946"/>
                <a:gd name="connsiteY25" fmla="*/ 312129 h 394205"/>
                <a:gd name="connsiteX26" fmla="*/ 99062 w 420946"/>
                <a:gd name="connsiteY26" fmla="*/ 375168 h 394205"/>
                <a:gd name="connsiteX27" fmla="*/ 212997 w 420946"/>
                <a:gd name="connsiteY27" fmla="*/ 394135 h 394205"/>
                <a:gd name="connsiteX28" fmla="*/ 320110 w 420946"/>
                <a:gd name="connsiteY28" fmla="*/ 381308 h 394205"/>
                <a:gd name="connsiteX29" fmla="*/ 389426 w 420946"/>
                <a:gd name="connsiteY29" fmla="*/ 339009 h 394205"/>
                <a:gd name="connsiteX30" fmla="*/ 420946 w 420946"/>
                <a:gd name="connsiteY30" fmla="*/ 260005 h 394205"/>
                <a:gd name="connsiteX31" fmla="*/ 328843 w 420946"/>
                <a:gd name="connsiteY31" fmla="*/ 260278 h 394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20946" h="394205">
                  <a:moveTo>
                    <a:pt x="328843" y="260278"/>
                  </a:moveTo>
                  <a:cubicBezTo>
                    <a:pt x="327069" y="274196"/>
                    <a:pt x="320792" y="287158"/>
                    <a:pt x="310831" y="297119"/>
                  </a:cubicBezTo>
                  <a:cubicBezTo>
                    <a:pt x="300461" y="306534"/>
                    <a:pt x="287772" y="312947"/>
                    <a:pt x="273990" y="315676"/>
                  </a:cubicBezTo>
                  <a:cubicBezTo>
                    <a:pt x="253932" y="319633"/>
                    <a:pt x="233465" y="321544"/>
                    <a:pt x="212997" y="321134"/>
                  </a:cubicBezTo>
                  <a:cubicBezTo>
                    <a:pt x="191165" y="321544"/>
                    <a:pt x="169470" y="318269"/>
                    <a:pt x="148730" y="311719"/>
                  </a:cubicBezTo>
                  <a:cubicBezTo>
                    <a:pt x="131674" y="306261"/>
                    <a:pt x="117073" y="295072"/>
                    <a:pt x="106976" y="280200"/>
                  </a:cubicBezTo>
                  <a:cubicBezTo>
                    <a:pt x="96879" y="265327"/>
                    <a:pt x="91967" y="243904"/>
                    <a:pt x="91967" y="216614"/>
                  </a:cubicBezTo>
                  <a:lnTo>
                    <a:pt x="91967" y="177863"/>
                  </a:lnTo>
                  <a:cubicBezTo>
                    <a:pt x="91967" y="150436"/>
                    <a:pt x="97015" y="128877"/>
                    <a:pt x="106976" y="114004"/>
                  </a:cubicBezTo>
                  <a:cubicBezTo>
                    <a:pt x="116937" y="99131"/>
                    <a:pt x="131537" y="88079"/>
                    <a:pt x="148593" y="82621"/>
                  </a:cubicBezTo>
                  <a:cubicBezTo>
                    <a:pt x="169334" y="75935"/>
                    <a:pt x="191029" y="72797"/>
                    <a:pt x="212861" y="73206"/>
                  </a:cubicBezTo>
                  <a:cubicBezTo>
                    <a:pt x="233328" y="72933"/>
                    <a:pt x="253796" y="74707"/>
                    <a:pt x="273854" y="78800"/>
                  </a:cubicBezTo>
                  <a:cubicBezTo>
                    <a:pt x="287635" y="81529"/>
                    <a:pt x="300325" y="87943"/>
                    <a:pt x="310695" y="97358"/>
                  </a:cubicBezTo>
                  <a:cubicBezTo>
                    <a:pt x="320656" y="107318"/>
                    <a:pt x="327069" y="120281"/>
                    <a:pt x="328706" y="134199"/>
                  </a:cubicBezTo>
                  <a:lnTo>
                    <a:pt x="420946" y="134199"/>
                  </a:lnTo>
                  <a:cubicBezTo>
                    <a:pt x="419309" y="105135"/>
                    <a:pt x="408120" y="77436"/>
                    <a:pt x="389426" y="55195"/>
                  </a:cubicBezTo>
                  <a:cubicBezTo>
                    <a:pt x="370869" y="34727"/>
                    <a:pt x="346854" y="20127"/>
                    <a:pt x="320110" y="12896"/>
                  </a:cubicBezTo>
                  <a:cubicBezTo>
                    <a:pt x="285179" y="3753"/>
                    <a:pt x="249020" y="-613"/>
                    <a:pt x="212997" y="69"/>
                  </a:cubicBezTo>
                  <a:cubicBezTo>
                    <a:pt x="168788" y="69"/>
                    <a:pt x="130582" y="6482"/>
                    <a:pt x="99062" y="18899"/>
                  </a:cubicBezTo>
                  <a:cubicBezTo>
                    <a:pt x="68088" y="30907"/>
                    <a:pt x="42026" y="53148"/>
                    <a:pt x="25380" y="81939"/>
                  </a:cubicBezTo>
                  <a:cubicBezTo>
                    <a:pt x="9142" y="109911"/>
                    <a:pt x="546" y="147025"/>
                    <a:pt x="0" y="192736"/>
                  </a:cubicBezTo>
                  <a:lnTo>
                    <a:pt x="0" y="196966"/>
                  </a:lnTo>
                  <a:lnTo>
                    <a:pt x="4912" y="197102"/>
                  </a:lnTo>
                  <a:lnTo>
                    <a:pt x="0" y="197102"/>
                  </a:lnTo>
                  <a:lnTo>
                    <a:pt x="0" y="201332"/>
                  </a:lnTo>
                  <a:cubicBezTo>
                    <a:pt x="546" y="247042"/>
                    <a:pt x="9142" y="284293"/>
                    <a:pt x="25380" y="312129"/>
                  </a:cubicBezTo>
                  <a:cubicBezTo>
                    <a:pt x="42026" y="340919"/>
                    <a:pt x="67952" y="363161"/>
                    <a:pt x="99062" y="375168"/>
                  </a:cubicBezTo>
                  <a:cubicBezTo>
                    <a:pt x="130446" y="387722"/>
                    <a:pt x="168788" y="394135"/>
                    <a:pt x="212997" y="394135"/>
                  </a:cubicBezTo>
                  <a:cubicBezTo>
                    <a:pt x="249156" y="394817"/>
                    <a:pt x="285179" y="390587"/>
                    <a:pt x="320110" y="381308"/>
                  </a:cubicBezTo>
                  <a:cubicBezTo>
                    <a:pt x="346718" y="374213"/>
                    <a:pt x="370869" y="359477"/>
                    <a:pt x="389426" y="339009"/>
                  </a:cubicBezTo>
                  <a:cubicBezTo>
                    <a:pt x="408256" y="316768"/>
                    <a:pt x="419309" y="289069"/>
                    <a:pt x="420946" y="260005"/>
                  </a:cubicBezTo>
                  <a:lnTo>
                    <a:pt x="328843" y="260278"/>
                  </a:lnTo>
                </a:path>
              </a:pathLst>
            </a:custGeom>
            <a:solidFill>
              <a:srgbClr val="FFFFFF"/>
            </a:solidFill>
            <a:ln w="135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</p:grpSp>
      <p:pic>
        <p:nvPicPr>
          <p:cNvPr id="19458" name="Picture 2" descr="https://sun9-85.userapi.com/impg/o58Jdf5hdKEBT_geShAOc0sDiq6risJu-q7B8Q/rb3oUQPZ6cg.jpg?size=1200x630&amp;quality=95&amp;sign=9c465b2e527b9ae040695b7641d7449d&amp;c_uniq_tag=B7zxID2Gw4YU7cSXtyAEpMv0WlMopMEurU0bDVLNSU4&amp;type=albu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589" y="2169098"/>
            <a:ext cx="3389291" cy="1886710"/>
          </a:xfrm>
          <a:prstGeom prst="rect">
            <a:avLst/>
          </a:prstGeom>
          <a:noFill/>
          <a:effectLst>
            <a:softEdge rad="254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https://www.radiogorodok.com/files/uploads/imag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3526" y="0"/>
            <a:ext cx="3657658" cy="238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0599" y="4212363"/>
            <a:ext cx="2297878" cy="2008022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0" y="1414678"/>
            <a:ext cx="2764375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400" b="1" spc="50" dirty="0">
                <a:ln w="0"/>
                <a:solidFill>
                  <a:schemeClr val="accent6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У</a:t>
            </a:r>
            <a:r>
              <a:rPr lang="ru-RU" sz="2800" b="1" spc="50" dirty="0">
                <a:ln w="0"/>
                <a:solidFill>
                  <a:schemeClr val="accent6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мный дом</a:t>
            </a:r>
            <a:endParaRPr lang="ru-RU" sz="2800" b="1" cap="none" spc="50" dirty="0">
              <a:ln w="0"/>
              <a:solidFill>
                <a:schemeClr val="accent6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07185" y="283510"/>
            <a:ext cx="1088089" cy="952277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3769834" y="1269895"/>
            <a:ext cx="4562790" cy="954107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800" b="1" cap="none" spc="50" dirty="0">
                <a:ln w="0"/>
                <a:solidFill>
                  <a:schemeClr val="accent6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Корпоративные клиенты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4941" y="2528887"/>
            <a:ext cx="1289350" cy="1289350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-59886" y="3777135"/>
            <a:ext cx="3919663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800" b="1" cap="none" spc="50" dirty="0">
                <a:ln w="0"/>
                <a:solidFill>
                  <a:schemeClr val="accent6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Облачные ресурсы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51613" y="4702737"/>
            <a:ext cx="1262999" cy="1150751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-470669" y="6003461"/>
            <a:ext cx="4930689" cy="9541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800" b="1" cap="none" spc="50" dirty="0">
                <a:ln w="0"/>
                <a:solidFill>
                  <a:schemeClr val="accent6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Мобильная связь и интернет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6279" y="230078"/>
            <a:ext cx="1280443" cy="1071563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4534720" y="4135446"/>
            <a:ext cx="295122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800" b="1" cap="none" spc="50" dirty="0">
                <a:ln w="0"/>
                <a:solidFill>
                  <a:schemeClr val="bg1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Фиксированная связь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263449" y="6185061"/>
            <a:ext cx="5412177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000" b="1" cap="none" spc="50" dirty="0">
                <a:ln w="0"/>
                <a:solidFill>
                  <a:schemeClr val="accent6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Домашний интернет и телевидение(ЦТВ</a:t>
            </a:r>
            <a:r>
              <a:rPr lang="ru-RU" sz="2000" b="1" spc="50" dirty="0">
                <a:ln w="0"/>
                <a:solidFill>
                  <a:schemeClr val="accent6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,</a:t>
            </a:r>
            <a:r>
              <a:rPr lang="ru-RU" sz="2000" b="1" cap="none" spc="50" dirty="0">
                <a:ln w="0"/>
                <a:solidFill>
                  <a:schemeClr val="accent6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 </a:t>
            </a:r>
            <a:r>
              <a:rPr lang="en-US" sz="2000" b="1" cap="none" spc="50" dirty="0">
                <a:ln w="0"/>
                <a:solidFill>
                  <a:schemeClr val="accent6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IPTV</a:t>
            </a:r>
            <a:r>
              <a:rPr lang="ru-RU" sz="2000" b="1" cap="none" spc="50" dirty="0">
                <a:ln w="0"/>
                <a:solidFill>
                  <a:schemeClr val="accent6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)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86775" y="4164658"/>
            <a:ext cx="3100388" cy="2264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01833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73084"/>
            <a:ext cx="12192000" cy="6084916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2</a:t>
            </a:fld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83988" y="239917"/>
            <a:ext cx="12008012" cy="1111807"/>
          </a:xfrm>
        </p:spPr>
        <p:txBody>
          <a:bodyPr/>
          <a:lstStyle/>
          <a:p>
            <a:r>
              <a:rPr lang="ru-RU" sz="4800" dirty="0">
                <a:solidFill>
                  <a:schemeClr val="tx1"/>
                </a:solidFill>
              </a:rPr>
              <a:t>Мобильная связь и интернет</a:t>
            </a:r>
          </a:p>
        </p:txBody>
      </p:sp>
      <p:sp>
        <p:nvSpPr>
          <p:cNvPr id="11" name="Заголовок 7"/>
          <p:cNvSpPr txBox="1">
            <a:spLocks/>
          </p:cNvSpPr>
          <p:nvPr/>
        </p:nvSpPr>
        <p:spPr>
          <a:xfrm>
            <a:off x="183988" y="979315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3600" u="sng" dirty="0">
                <a:solidFill>
                  <a:schemeClr val="tx1"/>
                </a:solidFill>
              </a:rPr>
              <a:t>Инженера радио подсистемы</a:t>
            </a:r>
          </a:p>
          <a:p>
            <a:endParaRPr lang="ru-RU" dirty="0"/>
          </a:p>
        </p:txBody>
      </p:sp>
      <p:sp>
        <p:nvSpPr>
          <p:cNvPr id="12" name="Заголовок 7"/>
          <p:cNvSpPr txBox="1">
            <a:spLocks/>
          </p:cNvSpPr>
          <p:nvPr/>
        </p:nvSpPr>
        <p:spPr>
          <a:xfrm>
            <a:off x="183988" y="1469795"/>
            <a:ext cx="11472863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2800" dirty="0">
                <a:solidFill>
                  <a:schemeClr val="tx1"/>
                </a:solidFill>
              </a:rPr>
              <a:t>Обслуживание Базовых станций (</a:t>
            </a:r>
            <a:r>
              <a:rPr lang="ru-RU" sz="2800" dirty="0" err="1">
                <a:solidFill>
                  <a:schemeClr val="tx1"/>
                </a:solidFill>
              </a:rPr>
              <a:t>Эпу</a:t>
            </a:r>
            <a:r>
              <a:rPr lang="ru-RU" sz="2800" dirty="0">
                <a:solidFill>
                  <a:schemeClr val="tx1"/>
                </a:solidFill>
              </a:rPr>
              <a:t>, СКВ, ОПС)</a:t>
            </a:r>
          </a:p>
          <a:p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3" name="Заголовок 7"/>
          <p:cNvSpPr txBox="1">
            <a:spLocks/>
          </p:cNvSpPr>
          <p:nvPr/>
        </p:nvSpPr>
        <p:spPr>
          <a:xfrm>
            <a:off x="183988" y="2162012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3600" u="sng" dirty="0">
                <a:solidFill>
                  <a:schemeClr val="tx1"/>
                </a:solidFill>
              </a:rPr>
              <a:t>Инженера</a:t>
            </a:r>
            <a:r>
              <a:rPr lang="ru-RU" sz="3600" u="sng" dirty="0"/>
              <a:t> </a:t>
            </a:r>
            <a:r>
              <a:rPr lang="ru-RU" sz="3600" u="sng" dirty="0">
                <a:solidFill>
                  <a:schemeClr val="tx1"/>
                </a:solidFill>
              </a:rPr>
              <a:t>Транспортной</a:t>
            </a:r>
            <a:r>
              <a:rPr lang="ru-RU" sz="3600" u="sng" dirty="0"/>
              <a:t> </a:t>
            </a:r>
            <a:r>
              <a:rPr lang="ru-RU" sz="3600" u="sng" dirty="0">
                <a:solidFill>
                  <a:schemeClr val="tx1"/>
                </a:solidFill>
              </a:rPr>
              <a:t>сети</a:t>
            </a:r>
          </a:p>
          <a:p>
            <a:endParaRPr lang="ru-RU" dirty="0"/>
          </a:p>
        </p:txBody>
      </p:sp>
      <p:sp>
        <p:nvSpPr>
          <p:cNvPr id="14" name="Заголовок 7"/>
          <p:cNvSpPr txBox="1">
            <a:spLocks/>
          </p:cNvSpPr>
          <p:nvPr/>
        </p:nvSpPr>
        <p:spPr>
          <a:xfrm>
            <a:off x="262644" y="2905842"/>
            <a:ext cx="10630668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en-US" sz="2800" dirty="0">
                <a:solidFill>
                  <a:schemeClr val="tx1"/>
                </a:solidFill>
              </a:rPr>
              <a:t>MBH</a:t>
            </a:r>
            <a:r>
              <a:rPr lang="ru-RU" sz="2800" dirty="0">
                <a:solidFill>
                  <a:schemeClr val="tx1"/>
                </a:solidFill>
              </a:rPr>
              <a:t>,</a:t>
            </a:r>
            <a:r>
              <a:rPr lang="en-US" sz="2800" dirty="0">
                <a:solidFill>
                  <a:schemeClr val="tx1"/>
                </a:solidFill>
              </a:rPr>
              <a:t>DWDM</a:t>
            </a:r>
            <a:r>
              <a:rPr lang="ru-RU" sz="2800" dirty="0">
                <a:solidFill>
                  <a:schemeClr val="tx1"/>
                </a:solidFill>
              </a:rPr>
              <a:t>,РРЛ</a:t>
            </a:r>
          </a:p>
          <a:p>
            <a:endParaRPr lang="ru-RU" dirty="0"/>
          </a:p>
        </p:txBody>
      </p:sp>
      <p:sp>
        <p:nvSpPr>
          <p:cNvPr id="15" name="Заголовок 7"/>
          <p:cNvSpPr txBox="1">
            <a:spLocks/>
          </p:cNvSpPr>
          <p:nvPr/>
        </p:nvSpPr>
        <p:spPr>
          <a:xfrm>
            <a:off x="183987" y="3550893"/>
            <a:ext cx="11472863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3600" u="sng" dirty="0">
                <a:solidFill>
                  <a:schemeClr val="tx1"/>
                </a:solidFill>
              </a:rPr>
              <a:t>Инженера Коммутационной подсистемы</a:t>
            </a:r>
          </a:p>
        </p:txBody>
      </p:sp>
      <p:sp>
        <p:nvSpPr>
          <p:cNvPr id="16" name="Заголовок 7"/>
          <p:cNvSpPr txBox="1">
            <a:spLocks/>
          </p:cNvSpPr>
          <p:nvPr/>
        </p:nvSpPr>
        <p:spPr>
          <a:xfrm>
            <a:off x="183988" y="4116928"/>
            <a:ext cx="1157462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2800" dirty="0">
                <a:solidFill>
                  <a:schemeClr val="tx1"/>
                </a:solidFill>
              </a:rPr>
              <a:t>Маршрутизация голосового трафика и обслуживание оборудования</a:t>
            </a:r>
          </a:p>
        </p:txBody>
      </p:sp>
      <p:sp>
        <p:nvSpPr>
          <p:cNvPr id="17" name="Заголовок 7"/>
          <p:cNvSpPr txBox="1">
            <a:spLocks/>
          </p:cNvSpPr>
          <p:nvPr/>
        </p:nvSpPr>
        <p:spPr>
          <a:xfrm>
            <a:off x="175553" y="4870819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en-US" sz="2800" dirty="0">
                <a:solidFill>
                  <a:schemeClr val="tx1"/>
                </a:solidFill>
              </a:rPr>
              <a:t>MSC </a:t>
            </a:r>
            <a:r>
              <a:rPr lang="ru-RU" sz="2800" dirty="0" err="1">
                <a:solidFill>
                  <a:schemeClr val="tx1"/>
                </a:solidFill>
              </a:rPr>
              <a:t>мобайл</a:t>
            </a:r>
            <a:r>
              <a:rPr lang="ru-RU" sz="2800" dirty="0">
                <a:solidFill>
                  <a:schemeClr val="tx1"/>
                </a:solidFill>
              </a:rPr>
              <a:t> софт </a:t>
            </a:r>
            <a:r>
              <a:rPr lang="ru-RU" sz="2800" dirty="0" err="1">
                <a:solidFill>
                  <a:schemeClr val="tx1"/>
                </a:solidFill>
              </a:rPr>
              <a:t>свич</a:t>
            </a:r>
            <a:endParaRPr lang="ru-RU" sz="2800" dirty="0">
              <a:solidFill>
                <a:schemeClr val="tx1"/>
              </a:solidFill>
            </a:endParaRPr>
          </a:p>
          <a:p>
            <a:r>
              <a:rPr lang="en-US" sz="2800" dirty="0">
                <a:solidFill>
                  <a:schemeClr val="tx1"/>
                </a:solidFill>
              </a:rPr>
              <a:t>HLR</a:t>
            </a:r>
            <a:r>
              <a:rPr lang="ru-RU" sz="2800" dirty="0">
                <a:solidFill>
                  <a:schemeClr val="tx1"/>
                </a:solidFill>
              </a:rPr>
              <a:t>,</a:t>
            </a:r>
            <a:r>
              <a:rPr lang="en-US" sz="2800" dirty="0">
                <a:solidFill>
                  <a:schemeClr val="tx1"/>
                </a:solidFill>
              </a:rPr>
              <a:t> VLR</a:t>
            </a:r>
            <a:r>
              <a:rPr lang="ru-RU" sz="2800" dirty="0">
                <a:solidFill>
                  <a:schemeClr val="tx1"/>
                </a:solidFill>
              </a:rPr>
              <a:t>- Базы данных абонентов</a:t>
            </a:r>
          </a:p>
          <a:p>
            <a:endParaRPr lang="ru-RU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76692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3</a:t>
            </a:fld>
            <a:endParaRPr lang="ru-RU"/>
          </a:p>
        </p:txBody>
      </p:sp>
      <p:sp>
        <p:nvSpPr>
          <p:cNvPr id="10" name="Заголовок 7"/>
          <p:cNvSpPr>
            <a:spLocks noGrp="1"/>
          </p:cNvSpPr>
          <p:nvPr>
            <p:ph type="title"/>
          </p:nvPr>
        </p:nvSpPr>
        <p:spPr>
          <a:xfrm>
            <a:off x="473181" y="107466"/>
            <a:ext cx="10630666" cy="358588"/>
          </a:xfrm>
        </p:spPr>
        <p:txBody>
          <a:bodyPr/>
          <a:lstStyle/>
          <a:p>
            <a:r>
              <a:rPr lang="ru-RU" sz="4800" dirty="0">
                <a:solidFill>
                  <a:srgbClr val="FF0000"/>
                </a:solidFill>
              </a:rPr>
              <a:t>Фиксированная связь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37419"/>
            <a:ext cx="12191999" cy="6120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08388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3521" y="2328828"/>
            <a:ext cx="2822697" cy="209349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E88AC1-0904-3C47-875C-3F6E82802988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10" name="Заголовок 7"/>
          <p:cNvSpPr txBox="1">
            <a:spLocks/>
          </p:cNvSpPr>
          <p:nvPr/>
        </p:nvSpPr>
        <p:spPr>
          <a:xfrm>
            <a:off x="69007" y="526434"/>
            <a:ext cx="9214514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3600" dirty="0">
                <a:ln>
                  <a:solidFill>
                    <a:schemeClr val="bg1"/>
                  </a:solidFill>
                </a:ln>
                <a:solidFill>
                  <a:srgbClr val="1A1A1A"/>
                </a:solidFill>
              </a:rPr>
              <a:t>-</a:t>
            </a:r>
            <a:r>
              <a:rPr lang="ru-RU" sz="3600" u="sng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Специалист развития сети</a:t>
            </a:r>
          </a:p>
        </p:txBody>
      </p:sp>
      <p:sp>
        <p:nvSpPr>
          <p:cNvPr id="11" name="Заголовок 7"/>
          <p:cNvSpPr txBox="1">
            <a:spLocks/>
          </p:cNvSpPr>
          <p:nvPr/>
        </p:nvSpPr>
        <p:spPr>
          <a:xfrm>
            <a:off x="183988" y="975623"/>
            <a:ext cx="11834813" cy="35858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2800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Сопровождение строительства и модернизации сети фиксированного доступа</a:t>
            </a:r>
          </a:p>
        </p:txBody>
      </p:sp>
      <p:sp>
        <p:nvSpPr>
          <p:cNvPr id="12" name="Заголовок 7"/>
          <p:cNvSpPr txBox="1">
            <a:spLocks/>
          </p:cNvSpPr>
          <p:nvPr/>
        </p:nvSpPr>
        <p:spPr>
          <a:xfrm>
            <a:off x="2" y="1788413"/>
            <a:ext cx="1210621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3600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-</a:t>
            </a:r>
            <a:r>
              <a:rPr lang="ru-RU" sz="3200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Инженер линейно кабельных сетей (ВОЛС</a:t>
            </a:r>
            <a:r>
              <a:rPr lang="ru-RU" sz="3600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)</a:t>
            </a:r>
          </a:p>
          <a:p>
            <a:endParaRPr lang="ru-RU" sz="3600" dirty="0">
              <a:solidFill>
                <a:srgbClr val="FF0000"/>
              </a:solidFill>
            </a:endParaRPr>
          </a:p>
        </p:txBody>
      </p:sp>
      <p:sp>
        <p:nvSpPr>
          <p:cNvPr id="21" name="Заголовок 7"/>
          <p:cNvSpPr txBox="1">
            <a:spLocks/>
          </p:cNvSpPr>
          <p:nvPr/>
        </p:nvSpPr>
        <p:spPr>
          <a:xfrm>
            <a:off x="31592" y="2310460"/>
            <a:ext cx="12160408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3600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-</a:t>
            </a:r>
            <a:r>
              <a:rPr lang="ru-RU" sz="3200" u="sng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Инженер ШПД уровня ядра сети по                             маршрутизации трафика</a:t>
            </a:r>
          </a:p>
          <a:p>
            <a:endParaRPr lang="ru-RU" dirty="0"/>
          </a:p>
        </p:txBody>
      </p:sp>
      <p:sp>
        <p:nvSpPr>
          <p:cNvPr id="22" name="Заголовок 7"/>
          <p:cNvSpPr txBox="1">
            <a:spLocks/>
          </p:cNvSpPr>
          <p:nvPr/>
        </p:nvSpPr>
        <p:spPr>
          <a:xfrm>
            <a:off x="69007" y="3404555"/>
            <a:ext cx="11968204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3200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-</a:t>
            </a:r>
            <a:r>
              <a:rPr lang="ru-RU" sz="3200" u="sng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Монтажник группы эксплуатации и подключения клиентов</a:t>
            </a:r>
          </a:p>
          <a:p>
            <a:endParaRPr lang="ru-RU" dirty="0">
              <a:ln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3" name="Заголовок 7"/>
          <p:cNvSpPr txBox="1">
            <a:spLocks/>
          </p:cNvSpPr>
          <p:nvPr/>
        </p:nvSpPr>
        <p:spPr>
          <a:xfrm>
            <a:off x="31592" y="6175603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endParaRPr lang="ru-RU" dirty="0"/>
          </a:p>
        </p:txBody>
      </p:sp>
      <p:sp>
        <p:nvSpPr>
          <p:cNvPr id="24" name="Заголовок 7"/>
          <p:cNvSpPr txBox="1">
            <a:spLocks/>
          </p:cNvSpPr>
          <p:nvPr/>
        </p:nvSpPr>
        <p:spPr>
          <a:xfrm>
            <a:off x="69007" y="4301061"/>
            <a:ext cx="10630666" cy="117157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2800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Подключение новых клиентов</a:t>
            </a:r>
          </a:p>
          <a:p>
            <a:r>
              <a:rPr lang="ru-RU" sz="2800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Обслуживание существующих клиентов (сервисные работы и </a:t>
            </a:r>
            <a:r>
              <a:rPr lang="ru-RU" sz="2800" dirty="0" err="1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авр</a:t>
            </a:r>
            <a:r>
              <a:rPr lang="ru-RU" sz="2800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)</a:t>
            </a:r>
          </a:p>
          <a:p>
            <a:r>
              <a:rPr lang="ru-RU" sz="2800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Планово-профилактические работы на сети</a:t>
            </a:r>
          </a:p>
          <a:p>
            <a:r>
              <a:rPr lang="ru-RU" sz="2800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Обслуживание и настройка домового оборудования(коммутаторы доступа, приемники и усилители </a:t>
            </a:r>
            <a:r>
              <a:rPr lang="ru-RU" sz="2800" dirty="0" err="1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цтв</a:t>
            </a:r>
            <a:r>
              <a:rPr lang="ru-RU" sz="2800" dirty="0">
                <a:ln>
                  <a:solidFill>
                    <a:schemeClr val="tx1"/>
                  </a:solidFill>
                </a:ln>
                <a:solidFill>
                  <a:srgbClr val="1A1A1A"/>
                </a:solidFill>
              </a:rPr>
              <a:t> сигнала)</a:t>
            </a:r>
          </a:p>
          <a:p>
            <a:endParaRPr lang="ru-RU" sz="2800" dirty="0">
              <a:ln>
                <a:solidFill>
                  <a:schemeClr val="tx1"/>
                </a:solidFill>
              </a:ln>
              <a:solidFill>
                <a:srgbClr val="FF0000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29562" y="4775554"/>
            <a:ext cx="2389239" cy="1756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31225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1629" y="4047510"/>
            <a:ext cx="4800371" cy="276700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68929" y="724551"/>
            <a:ext cx="3991897" cy="3322959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5</a:t>
            </a:fld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473181" y="290684"/>
            <a:ext cx="10630666" cy="358588"/>
          </a:xfrm>
        </p:spPr>
        <p:txBody>
          <a:bodyPr/>
          <a:lstStyle/>
          <a:p>
            <a:r>
              <a:rPr lang="ru-RU" sz="3600" dirty="0">
                <a:solidFill>
                  <a:schemeClr val="tx1"/>
                </a:solidFill>
              </a:rPr>
              <a:t>В2В Корпоративные клиенты</a:t>
            </a:r>
          </a:p>
        </p:txBody>
      </p:sp>
      <p:sp>
        <p:nvSpPr>
          <p:cNvPr id="10" name="Заголовок 7"/>
          <p:cNvSpPr txBox="1">
            <a:spLocks/>
          </p:cNvSpPr>
          <p:nvPr/>
        </p:nvSpPr>
        <p:spPr>
          <a:xfrm>
            <a:off x="473180" y="1416595"/>
            <a:ext cx="11414019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3600" dirty="0">
                <a:solidFill>
                  <a:schemeClr val="tx1"/>
                </a:solidFill>
              </a:rPr>
              <a:t>Инженер по сопровождению юридических лиц</a:t>
            </a:r>
          </a:p>
        </p:txBody>
      </p:sp>
      <p:sp>
        <p:nvSpPr>
          <p:cNvPr id="11" name="Заголовок 7"/>
          <p:cNvSpPr txBox="1">
            <a:spLocks/>
          </p:cNvSpPr>
          <p:nvPr/>
        </p:nvSpPr>
        <p:spPr>
          <a:xfrm>
            <a:off x="473181" y="2299229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2800" dirty="0">
                <a:solidFill>
                  <a:schemeClr val="tx1"/>
                </a:solidFill>
              </a:rPr>
              <a:t>Разработка тех решений и поддержка пользователей</a:t>
            </a:r>
          </a:p>
        </p:txBody>
      </p:sp>
      <p:sp>
        <p:nvSpPr>
          <p:cNvPr id="12" name="Заголовок 7"/>
          <p:cNvSpPr txBox="1">
            <a:spLocks/>
          </p:cNvSpPr>
          <p:nvPr/>
        </p:nvSpPr>
        <p:spPr>
          <a:xfrm>
            <a:off x="473181" y="3412082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pPr algn="ctr"/>
            <a:r>
              <a:rPr lang="ru-RU" sz="3600" dirty="0">
                <a:solidFill>
                  <a:schemeClr val="tx1"/>
                </a:solidFill>
              </a:rPr>
              <a:t>Энергетика</a:t>
            </a:r>
          </a:p>
        </p:txBody>
      </p:sp>
      <p:sp>
        <p:nvSpPr>
          <p:cNvPr id="13" name="Заголовок 7"/>
          <p:cNvSpPr txBox="1">
            <a:spLocks/>
          </p:cNvSpPr>
          <p:nvPr/>
        </p:nvSpPr>
        <p:spPr>
          <a:xfrm>
            <a:off x="473181" y="4221707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3600" dirty="0">
                <a:solidFill>
                  <a:schemeClr val="tx1"/>
                </a:solidFill>
              </a:rPr>
              <a:t>Инженер энергетик</a:t>
            </a:r>
          </a:p>
        </p:txBody>
      </p:sp>
      <p:sp>
        <p:nvSpPr>
          <p:cNvPr id="14" name="Заголовок 7"/>
          <p:cNvSpPr txBox="1">
            <a:spLocks/>
          </p:cNvSpPr>
          <p:nvPr/>
        </p:nvSpPr>
        <p:spPr>
          <a:xfrm>
            <a:off x="473181" y="4928688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2800" dirty="0">
                <a:solidFill>
                  <a:schemeClr val="tx1"/>
                </a:solidFill>
              </a:rPr>
              <a:t>Обслуживание электроустановок</a:t>
            </a:r>
          </a:p>
        </p:txBody>
      </p:sp>
    </p:spTree>
    <p:extLst>
      <p:ext uri="{BB962C8B-B14F-4D97-AF65-F5344CB8AC3E}">
        <p14:creationId xmlns:p14="http://schemas.microsoft.com/office/powerpoint/2010/main" val="405022726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8658" y="1516022"/>
            <a:ext cx="4493342" cy="4405441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6</a:t>
            </a:fld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342807" y="198205"/>
            <a:ext cx="10887168" cy="358588"/>
          </a:xfrm>
        </p:spPr>
        <p:txBody>
          <a:bodyPr/>
          <a:lstStyle/>
          <a:p>
            <a:r>
              <a:rPr lang="ru-RU" sz="4800" dirty="0">
                <a:solidFill>
                  <a:schemeClr val="tx1"/>
                </a:solidFill>
              </a:rPr>
              <a:t>При трудоустройстве в ПАО «МТС» тебя ждет</a:t>
            </a:r>
            <a:br>
              <a:rPr lang="ru-RU" sz="4800" dirty="0">
                <a:solidFill>
                  <a:schemeClr val="tx1"/>
                </a:solidFill>
              </a:rPr>
            </a:br>
            <a:endParaRPr lang="ru-RU" sz="4800" dirty="0">
              <a:solidFill>
                <a:schemeClr val="tx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E4C9C62-9215-4840-B6D3-0C93375EE2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674" y="3235244"/>
            <a:ext cx="603909" cy="55824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4222" y="3151608"/>
            <a:ext cx="603556" cy="554784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E4C9C62-9215-4840-B6D3-0C93375EE2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9674" y="3269212"/>
            <a:ext cx="1807814" cy="774151"/>
          </a:xfrm>
          <a:prstGeom prst="rect">
            <a:avLst/>
          </a:prstGeom>
        </p:spPr>
      </p:pic>
      <p:sp>
        <p:nvSpPr>
          <p:cNvPr id="14" name="Заголовок 7"/>
          <p:cNvSpPr txBox="1">
            <a:spLocks/>
          </p:cNvSpPr>
          <p:nvPr/>
        </p:nvSpPr>
        <p:spPr>
          <a:xfrm>
            <a:off x="342807" y="1416595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u="sng" dirty="0">
                <a:solidFill>
                  <a:schemeClr val="tx1"/>
                </a:solidFill>
              </a:rPr>
              <a:t>Достойное вознаграждение </a:t>
            </a:r>
            <a:br>
              <a:rPr lang="ru-RU" u="sng" dirty="0">
                <a:solidFill>
                  <a:schemeClr val="tx1"/>
                </a:solidFill>
              </a:rPr>
            </a:br>
            <a:endParaRPr lang="ru-RU" u="sng" dirty="0">
              <a:solidFill>
                <a:schemeClr val="tx1"/>
              </a:solidFill>
            </a:endParaRPr>
          </a:p>
        </p:txBody>
      </p:sp>
      <p:sp>
        <p:nvSpPr>
          <p:cNvPr id="15" name="Заголовок 7"/>
          <p:cNvSpPr txBox="1">
            <a:spLocks/>
          </p:cNvSpPr>
          <p:nvPr/>
        </p:nvSpPr>
        <p:spPr>
          <a:xfrm>
            <a:off x="342807" y="1925513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u="sng" dirty="0">
                <a:solidFill>
                  <a:schemeClr val="tx1"/>
                </a:solidFill>
              </a:rPr>
              <a:t>Бесплатное обучение и стажировка по выбранной специальности</a:t>
            </a:r>
            <a:br>
              <a:rPr lang="ru-RU" dirty="0"/>
            </a:br>
            <a:endParaRPr lang="ru-RU" dirty="0"/>
          </a:p>
        </p:txBody>
      </p:sp>
      <p:sp>
        <p:nvSpPr>
          <p:cNvPr id="16" name="Заголовок 7"/>
          <p:cNvSpPr txBox="1">
            <a:spLocks/>
          </p:cNvSpPr>
          <p:nvPr/>
        </p:nvSpPr>
        <p:spPr>
          <a:xfrm>
            <a:off x="336388" y="2737440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u="sng" dirty="0">
                <a:solidFill>
                  <a:schemeClr val="tx1"/>
                </a:solidFill>
              </a:rPr>
              <a:t>Наставничество от профессионалов</a:t>
            </a:r>
            <a:br>
              <a:rPr lang="ru-RU" u="sng" dirty="0"/>
            </a:br>
            <a:endParaRPr lang="ru-RU" u="sng" dirty="0"/>
          </a:p>
        </p:txBody>
      </p:sp>
      <p:sp>
        <p:nvSpPr>
          <p:cNvPr id="17" name="Заголовок 7"/>
          <p:cNvSpPr txBox="1">
            <a:spLocks/>
          </p:cNvSpPr>
          <p:nvPr/>
        </p:nvSpPr>
        <p:spPr>
          <a:xfrm>
            <a:off x="199932" y="3539449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2800" dirty="0">
                <a:solidFill>
                  <a:schemeClr val="tx1"/>
                </a:solidFill>
              </a:rPr>
              <a:t>Льготы:</a:t>
            </a:r>
            <a:br>
              <a:rPr lang="ru-RU" sz="2800" dirty="0">
                <a:solidFill>
                  <a:schemeClr val="tx1"/>
                </a:solidFill>
              </a:rPr>
            </a:b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18" name="Заголовок 7"/>
          <p:cNvSpPr txBox="1">
            <a:spLocks/>
          </p:cNvSpPr>
          <p:nvPr/>
        </p:nvSpPr>
        <p:spPr>
          <a:xfrm>
            <a:off x="216451" y="4032364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u="sng" dirty="0">
                <a:solidFill>
                  <a:schemeClr val="tx1"/>
                </a:solidFill>
              </a:rPr>
              <a:t>Медицинский полис ДМС</a:t>
            </a:r>
            <a:br>
              <a:rPr lang="ru-RU" u="sng" dirty="0">
                <a:solidFill>
                  <a:schemeClr val="tx1"/>
                </a:solidFill>
              </a:rPr>
            </a:br>
            <a:endParaRPr lang="ru-RU" u="sng" dirty="0">
              <a:solidFill>
                <a:schemeClr val="tx1"/>
              </a:solidFill>
            </a:endParaRPr>
          </a:p>
        </p:txBody>
      </p:sp>
      <p:sp>
        <p:nvSpPr>
          <p:cNvPr id="19" name="Заголовок 7"/>
          <p:cNvSpPr txBox="1">
            <a:spLocks/>
          </p:cNvSpPr>
          <p:nvPr/>
        </p:nvSpPr>
        <p:spPr>
          <a:xfrm>
            <a:off x="183988" y="4516247"/>
            <a:ext cx="10695592" cy="405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u="sng" dirty="0">
                <a:solidFill>
                  <a:schemeClr val="tx1"/>
                </a:solidFill>
              </a:rPr>
              <a:t>Служебная связь</a:t>
            </a:r>
          </a:p>
        </p:txBody>
      </p:sp>
      <p:sp>
        <p:nvSpPr>
          <p:cNvPr id="20" name="Заголовок 7"/>
          <p:cNvSpPr txBox="1">
            <a:spLocks/>
          </p:cNvSpPr>
          <p:nvPr/>
        </p:nvSpPr>
        <p:spPr>
          <a:xfrm>
            <a:off x="219752" y="5005501"/>
            <a:ext cx="10559135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u="sng" dirty="0">
                <a:solidFill>
                  <a:schemeClr val="tx1"/>
                </a:solidFill>
              </a:rPr>
              <a:t>Кафетерий льгот</a:t>
            </a:r>
          </a:p>
        </p:txBody>
      </p:sp>
      <p:sp>
        <p:nvSpPr>
          <p:cNvPr id="21" name="Заголовок 7"/>
          <p:cNvSpPr txBox="1">
            <a:spLocks/>
          </p:cNvSpPr>
          <p:nvPr/>
        </p:nvSpPr>
        <p:spPr>
          <a:xfrm>
            <a:off x="219753" y="5479986"/>
            <a:ext cx="10559135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u="sng" dirty="0">
                <a:solidFill>
                  <a:schemeClr val="tx1"/>
                </a:solidFill>
              </a:rPr>
              <a:t>Компенсация за проезд</a:t>
            </a:r>
          </a:p>
        </p:txBody>
      </p:sp>
      <p:sp>
        <p:nvSpPr>
          <p:cNvPr id="22" name="Заголовок 7"/>
          <p:cNvSpPr txBox="1">
            <a:spLocks/>
          </p:cNvSpPr>
          <p:nvPr/>
        </p:nvSpPr>
        <p:spPr>
          <a:xfrm>
            <a:off x="219753" y="5961557"/>
            <a:ext cx="10585899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u="sng" dirty="0">
                <a:solidFill>
                  <a:schemeClr val="tx1"/>
                </a:solidFill>
              </a:rPr>
              <a:t>Тарифы для сотрудников и их близких</a:t>
            </a:r>
          </a:p>
          <a:p>
            <a:r>
              <a:rPr lang="ru-RU" u="sng" dirty="0">
                <a:solidFill>
                  <a:schemeClr val="tx1"/>
                </a:solidFill>
              </a:rPr>
              <a:t>и многое другое</a:t>
            </a:r>
          </a:p>
        </p:txBody>
      </p:sp>
      <p:sp>
        <p:nvSpPr>
          <p:cNvPr id="23" name="Заголовок 7"/>
          <p:cNvSpPr txBox="1">
            <a:spLocks/>
          </p:cNvSpPr>
          <p:nvPr/>
        </p:nvSpPr>
        <p:spPr>
          <a:xfrm>
            <a:off x="342807" y="3134075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u="sng" dirty="0">
                <a:solidFill>
                  <a:schemeClr val="tx1"/>
                </a:solidFill>
              </a:rPr>
              <a:t>Официальное трудоустройство</a:t>
            </a:r>
            <a:br>
              <a:rPr lang="ru-RU" u="sng" dirty="0"/>
            </a:br>
            <a:endParaRPr lang="ru-RU" u="sng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89489" y="3454996"/>
            <a:ext cx="647700" cy="733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51317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30134"/>
            <a:fld id="{A7E88AC1-0904-3C47-875C-3F6E82802988}" type="slidenum">
              <a:rPr lang="ru-RU" smtClean="0"/>
              <a:pPr defTabSz="430134"/>
              <a:t>7</a:t>
            </a:fld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90406" y="784081"/>
            <a:ext cx="11425331" cy="358588"/>
          </a:xfrm>
        </p:spPr>
        <p:txBody>
          <a:bodyPr/>
          <a:lstStyle/>
          <a:p>
            <a:pPr algn="ctr"/>
            <a:r>
              <a:rPr lang="ru-RU" sz="4800" u="sng" dirty="0">
                <a:solidFill>
                  <a:schemeClr val="tx1"/>
                </a:solidFill>
              </a:rPr>
              <a:t>По вопросам  трудоустройства обращаться</a:t>
            </a:r>
          </a:p>
        </p:txBody>
      </p:sp>
      <p:sp>
        <p:nvSpPr>
          <p:cNvPr id="10" name="Заголовок 7"/>
          <p:cNvSpPr txBox="1">
            <a:spLocks/>
          </p:cNvSpPr>
          <p:nvPr/>
        </p:nvSpPr>
        <p:spPr>
          <a:xfrm>
            <a:off x="0" y="2289240"/>
            <a:ext cx="10630666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pPr algn="ctr"/>
            <a:r>
              <a:rPr lang="ru-RU" sz="4000" dirty="0">
                <a:solidFill>
                  <a:schemeClr val="tx1"/>
                </a:solidFill>
              </a:rPr>
              <a:t>1. Город Чита ул. </a:t>
            </a:r>
            <a:r>
              <a:rPr lang="ru-RU" sz="4000" dirty="0" err="1">
                <a:solidFill>
                  <a:schemeClr val="tx1"/>
                </a:solidFill>
              </a:rPr>
              <a:t>Богомягкова</a:t>
            </a:r>
            <a:r>
              <a:rPr lang="ru-RU" sz="4000" dirty="0">
                <a:solidFill>
                  <a:schemeClr val="tx1"/>
                </a:solidFill>
              </a:rPr>
              <a:t> 46б отдел кадров</a:t>
            </a:r>
          </a:p>
        </p:txBody>
      </p:sp>
      <p:sp>
        <p:nvSpPr>
          <p:cNvPr id="11" name="Заголовок 7"/>
          <p:cNvSpPr txBox="1">
            <a:spLocks/>
          </p:cNvSpPr>
          <p:nvPr/>
        </p:nvSpPr>
        <p:spPr>
          <a:xfrm>
            <a:off x="244378" y="3459636"/>
            <a:ext cx="11554332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4000" dirty="0">
                <a:solidFill>
                  <a:srgbClr val="1A1A1A"/>
                </a:solidFill>
              </a:rPr>
              <a:t>2.Отклик на объявление по подбору персонала на </a:t>
            </a:r>
            <a:r>
              <a:rPr lang="en-US" sz="4000" dirty="0">
                <a:solidFill>
                  <a:srgbClr val="1A1A1A"/>
                </a:solidFill>
              </a:rPr>
              <a:t>hh.ru </a:t>
            </a:r>
            <a:r>
              <a:rPr lang="ru-RU" sz="4000" dirty="0">
                <a:solidFill>
                  <a:srgbClr val="1A1A1A"/>
                </a:solidFill>
              </a:rPr>
              <a:t>, </a:t>
            </a:r>
            <a:r>
              <a:rPr lang="en-US" sz="4000" dirty="0">
                <a:solidFill>
                  <a:srgbClr val="1A1A1A"/>
                </a:solidFill>
              </a:rPr>
              <a:t>avito.ru</a:t>
            </a:r>
            <a:r>
              <a:rPr lang="ru-RU" sz="4000" dirty="0">
                <a:solidFill>
                  <a:srgbClr val="1A1A1A"/>
                </a:solidFill>
              </a:rPr>
              <a:t> и т. д.</a:t>
            </a:r>
          </a:p>
        </p:txBody>
      </p:sp>
      <p:sp>
        <p:nvSpPr>
          <p:cNvPr id="12" name="Заголовок 7"/>
          <p:cNvSpPr txBox="1">
            <a:spLocks/>
          </p:cNvSpPr>
          <p:nvPr/>
        </p:nvSpPr>
        <p:spPr>
          <a:xfrm>
            <a:off x="244378" y="5098429"/>
            <a:ext cx="11632990" cy="35858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675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2869" b="0" i="0" kern="1200" cap="none" spc="107" baseline="0">
                <a:solidFill>
                  <a:schemeClr val="accent6"/>
                </a:solidFill>
                <a:latin typeface="MTS Wide Medium" panose="020B0306020102020303" pitchFamily="34" charset="0"/>
                <a:ea typeface="MTS Wide Medium" panose="020B0306020102020303" pitchFamily="34" charset="0"/>
                <a:cs typeface="Arial Black" charset="0"/>
              </a:defRPr>
            </a:lvl1pPr>
          </a:lstStyle>
          <a:p>
            <a:r>
              <a:rPr lang="ru-RU" sz="4400" dirty="0">
                <a:solidFill>
                  <a:schemeClr val="tx1"/>
                </a:solidFill>
              </a:rPr>
              <a:t>3.Почтовый ящик  </a:t>
            </a:r>
            <a:r>
              <a:rPr lang="en-US" sz="4400" dirty="0">
                <a:solidFill>
                  <a:schemeClr val="tx1"/>
                </a:solidFill>
              </a:rPr>
              <a:t>workmts@mts.ru</a:t>
            </a:r>
            <a:r>
              <a:rPr lang="ru-RU" sz="44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2983594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мтс ребренд">
  <a:themeElements>
    <a:clrScheme name="Custom 70">
      <a:dk1>
        <a:srgbClr val="000000"/>
      </a:dk1>
      <a:lt1>
        <a:srgbClr val="FFFFFF"/>
      </a:lt1>
      <a:dk2>
        <a:srgbClr val="000000"/>
      </a:dk2>
      <a:lt2>
        <a:srgbClr val="F8F8F8"/>
      </a:lt2>
      <a:accent1>
        <a:srgbClr val="F77BF7"/>
      </a:accent1>
      <a:accent2>
        <a:srgbClr val="04CFFF"/>
      </a:accent2>
      <a:accent3>
        <a:srgbClr val="CEFFA6"/>
      </a:accent3>
      <a:accent4>
        <a:srgbClr val="9557E5"/>
      </a:accent4>
      <a:accent5>
        <a:srgbClr val="007EE8"/>
      </a:accent5>
      <a:accent6>
        <a:srgbClr val="FF0032"/>
      </a:accent6>
      <a:hlink>
        <a:srgbClr val="FF0032"/>
      </a:hlink>
      <a:folHlink>
        <a:srgbClr val="A9A9A9"/>
      </a:folHlink>
    </a:clrScheme>
    <a:fontScheme name="MTS">
      <a:majorFont>
        <a:latin typeface="MTS Wide Medium"/>
        <a:ea typeface=""/>
        <a:cs typeface=""/>
      </a:majorFont>
      <a:minorFont>
        <a:latin typeface="MTS Tex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dirty="0" err="1" smtClean="0">
            <a:latin typeface="Arial" charset="0"/>
            <a:ea typeface="Arial" charset="0"/>
            <a:cs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90000"/>
              <a:lumOff val="10000"/>
              <a:alpha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мтс ребренд" id="{1D9803A6-FC64-461F-8C22-18CFA4C59863}" vid="{36520B66-D339-4090-A437-FCE836839CA4}"/>
    </a:ext>
  </a:extLst>
</a:theme>
</file>

<file path=ppt/theme/theme2.xml><?xml version="1.0" encoding="utf-8"?>
<a:theme xmlns:a="http://schemas.openxmlformats.org/drawingml/2006/main" name="Контентные слайды: Светлый фон">
  <a:themeElements>
    <a:clrScheme name="Custom 70">
      <a:dk1>
        <a:srgbClr val="000000"/>
      </a:dk1>
      <a:lt1>
        <a:srgbClr val="FFFFFF"/>
      </a:lt1>
      <a:dk2>
        <a:srgbClr val="000000"/>
      </a:dk2>
      <a:lt2>
        <a:srgbClr val="F8F8F8"/>
      </a:lt2>
      <a:accent1>
        <a:srgbClr val="F77BF7"/>
      </a:accent1>
      <a:accent2>
        <a:srgbClr val="04CFFF"/>
      </a:accent2>
      <a:accent3>
        <a:srgbClr val="CEFFA6"/>
      </a:accent3>
      <a:accent4>
        <a:srgbClr val="9557E5"/>
      </a:accent4>
      <a:accent5>
        <a:srgbClr val="007EE8"/>
      </a:accent5>
      <a:accent6>
        <a:srgbClr val="FF0032"/>
      </a:accent6>
      <a:hlink>
        <a:srgbClr val="FF0032"/>
      </a:hlink>
      <a:folHlink>
        <a:srgbClr val="A9A9A9"/>
      </a:folHlink>
    </a:clrScheme>
    <a:fontScheme name="MTS">
      <a:majorFont>
        <a:latin typeface="MTS Wide Medium"/>
        <a:ea typeface=""/>
        <a:cs typeface=""/>
      </a:majorFont>
      <a:minorFont>
        <a:latin typeface="MTS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dirty="0" err="1" smtClean="0">
            <a:latin typeface="Arial" charset="0"/>
            <a:ea typeface="Arial" charset="0"/>
            <a:cs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90000"/>
              <a:lumOff val="10000"/>
              <a:alpha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fault Theme" id="{334D0C1A-514E-0440-A6C1-12D06AEE0E8F}" vid="{3D2ED8D7-6BB6-EE43-A177-AE2CD9A63D24}"/>
    </a:ext>
  </a:extLst>
</a:theme>
</file>

<file path=ppt/theme/theme3.xml><?xml version="1.0" encoding="utf-8"?>
<a:theme xmlns:a="http://schemas.openxmlformats.org/drawingml/2006/main" name="Контентные слайды: Темный фон">
  <a:themeElements>
    <a:clrScheme name="Custom 70">
      <a:dk1>
        <a:srgbClr val="000000"/>
      </a:dk1>
      <a:lt1>
        <a:srgbClr val="FFFFFF"/>
      </a:lt1>
      <a:dk2>
        <a:srgbClr val="000000"/>
      </a:dk2>
      <a:lt2>
        <a:srgbClr val="F8F8F8"/>
      </a:lt2>
      <a:accent1>
        <a:srgbClr val="F77BF7"/>
      </a:accent1>
      <a:accent2>
        <a:srgbClr val="04CFFF"/>
      </a:accent2>
      <a:accent3>
        <a:srgbClr val="CEFFA6"/>
      </a:accent3>
      <a:accent4>
        <a:srgbClr val="9557E5"/>
      </a:accent4>
      <a:accent5>
        <a:srgbClr val="007EE8"/>
      </a:accent5>
      <a:accent6>
        <a:srgbClr val="FF0032"/>
      </a:accent6>
      <a:hlink>
        <a:srgbClr val="FF0032"/>
      </a:hlink>
      <a:folHlink>
        <a:srgbClr val="A9A9A9"/>
      </a:folHlink>
    </a:clrScheme>
    <a:fontScheme name="MTS">
      <a:majorFont>
        <a:latin typeface="MTS Wide Medium"/>
        <a:ea typeface=""/>
        <a:cs typeface=""/>
      </a:majorFont>
      <a:minorFont>
        <a:latin typeface="MTS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dirty="0" err="1" smtClean="0">
            <a:latin typeface="Arial" charset="0"/>
            <a:ea typeface="Arial" charset="0"/>
            <a:cs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90000"/>
              <a:lumOff val="10000"/>
              <a:alpha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fault Theme" id="{334D0C1A-514E-0440-A6C1-12D06AEE0E8F}" vid="{3D2ED8D7-6BB6-EE43-A177-AE2CD9A63D24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мтс ребренд</Template>
  <TotalTime>7241</TotalTime>
  <Words>255</Words>
  <Application>Microsoft Office PowerPoint</Application>
  <PresentationFormat>Широкоэкранный</PresentationFormat>
  <Paragraphs>54</Paragraphs>
  <Slides>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7" baseType="lpstr">
      <vt:lpstr>Arial</vt:lpstr>
      <vt:lpstr>Calibri</vt:lpstr>
      <vt:lpstr>MTS Text</vt:lpstr>
      <vt:lpstr>MTS Text Medium</vt:lpstr>
      <vt:lpstr>MTS Wide Medium</vt:lpstr>
      <vt:lpstr>Wingdings</vt:lpstr>
      <vt:lpstr>мтс ребренд</vt:lpstr>
      <vt:lpstr>Контентные слайды: Светлый фон</vt:lpstr>
      <vt:lpstr>Контентные слайды: Темный фон</vt:lpstr>
      <vt:lpstr>Слайд think-cell</vt:lpstr>
      <vt:lpstr>Презентация PowerPoint</vt:lpstr>
      <vt:lpstr>Мобильная связь и интернет</vt:lpstr>
      <vt:lpstr>Фиксированная связь</vt:lpstr>
      <vt:lpstr>Презентация PowerPoint</vt:lpstr>
      <vt:lpstr>В2В Корпоративные клиенты</vt:lpstr>
      <vt:lpstr>При трудоустройстве в ПАО «МТС» тебя ждет </vt:lpstr>
      <vt:lpstr>По вопросам  трудоустройства обращаться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chumakov@chtotib.ru</cp:lastModifiedBy>
  <cp:revision>76</cp:revision>
  <dcterms:created xsi:type="dcterms:W3CDTF">2022-02-14T06:59:46Z</dcterms:created>
  <dcterms:modified xsi:type="dcterms:W3CDTF">2024-03-11T03:01:23Z</dcterms:modified>
</cp:coreProperties>
</file>